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comments/modernComment_116_8C6990C0.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7E6_A0CF9962.xml" ContentType="application/vnd.ms-powerpoint.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modernComment_7E0_B9191959.xml" ContentType="application/vnd.ms-powerpoint.comments+xml"/>
  <Override PartName="/ppt/notesSlides/notesSlide13.xml" ContentType="application/vnd.openxmlformats-officedocument.presentationml.notesSlide+xml"/>
  <Override PartName="/ppt/comments/modernComment_7DF_F21D129C.xml" ContentType="application/vnd.ms-powerpoint.comments+xml"/>
  <Override PartName="/ppt/comments/modernComment_7BD_676F90EE.xml" ContentType="application/vnd.ms-powerpoint.comment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6.xml" ContentType="application/vnd.openxmlformats-officedocument.presentationml.tags+xml"/>
  <Override PartName="/ppt/notesSlides/notesSlide20.xml" ContentType="application/vnd.openxmlformats-officedocument.presentationml.notesSlide+xml"/>
  <Override PartName="/ppt/comments/modernComment_7C7_D4DE4398.xml" ContentType="application/vnd.ms-powerpoint.comment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omments/modernComment_7AE_DD81B51B.xml" ContentType="application/vnd.ms-powerpoint.comments+xml"/>
  <Override PartName="/ppt/notesSlides/notesSlide25.xml" ContentType="application/vnd.openxmlformats-officedocument.presentationml.notesSlide+xml"/>
  <Override PartName="/ppt/comments/modernComment_7D2_3AFD0FE8.xml" ContentType="application/vnd.ms-powerpoint.comment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7.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omments/modernComment_11A_446C707E.xml" ContentType="application/vnd.ms-powerpoint.comments+xml"/>
  <Override PartName="/ppt/comments/modernComment_11B_D3A597A0.xml" ContentType="application/vnd.ms-powerpoint.comments+xml"/>
  <Override PartName="/ppt/notesSlides/notesSlide3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75" r:id="rId5"/>
    <p:sldMasterId id="2147483990" r:id="rId6"/>
  </p:sldMasterIdLst>
  <p:notesMasterIdLst>
    <p:notesMasterId r:id="rId45"/>
  </p:notesMasterIdLst>
  <p:handoutMasterIdLst>
    <p:handoutMasterId r:id="rId46"/>
  </p:handoutMasterIdLst>
  <p:sldIdLst>
    <p:sldId id="256" r:id="rId7"/>
    <p:sldId id="2006" r:id="rId8"/>
    <p:sldId id="277" r:id="rId9"/>
    <p:sldId id="278" r:id="rId10"/>
    <p:sldId id="1994" r:id="rId11"/>
    <p:sldId id="307" r:id="rId12"/>
    <p:sldId id="355" r:id="rId13"/>
    <p:sldId id="2008" r:id="rId14"/>
    <p:sldId id="2009" r:id="rId15"/>
    <p:sldId id="2010" r:id="rId16"/>
    <p:sldId id="2013" r:id="rId17"/>
    <p:sldId id="2012" r:id="rId18"/>
    <p:sldId id="2022" r:id="rId19"/>
    <p:sldId id="2017" r:id="rId20"/>
    <p:sldId id="2016" r:id="rId21"/>
    <p:sldId id="2015" r:id="rId22"/>
    <p:sldId id="2014" r:id="rId23"/>
    <p:sldId id="1981" r:id="rId24"/>
    <p:sldId id="1996" r:id="rId25"/>
    <p:sldId id="1997" r:id="rId26"/>
    <p:sldId id="1998" r:id="rId27"/>
    <p:sldId id="2020" r:id="rId28"/>
    <p:sldId id="2019" r:id="rId29"/>
    <p:sldId id="2018" r:id="rId30"/>
    <p:sldId id="1991" r:id="rId31"/>
    <p:sldId id="2001" r:id="rId32"/>
    <p:sldId id="1999" r:id="rId33"/>
    <p:sldId id="2024" r:id="rId34"/>
    <p:sldId id="1975" r:id="rId35"/>
    <p:sldId id="1966" r:id="rId36"/>
    <p:sldId id="2002" r:id="rId37"/>
    <p:sldId id="2023" r:id="rId38"/>
    <p:sldId id="2003" r:id="rId39"/>
    <p:sldId id="2021" r:id="rId40"/>
    <p:sldId id="423" r:id="rId41"/>
    <p:sldId id="282" r:id="rId42"/>
    <p:sldId id="283" r:id="rId43"/>
    <p:sldId id="268" r:id="rId4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6B8C1BF-EEA0-3F68-B855-E8FDB5E30D71}" name="Nicholas Miller" initials="NM" userId="Nicholas Miller" providerId="None"/>
  <p188:author id="{2B5593C9-F2B6-30DD-4223-2A5BDAEF44D7}" name="Gilbert Nickelson" initials="GN" userId="S::gilbertn@microsoft.com::736df813-e39d-4bfb-9090-01d3a22ed6a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 id="5" name="Christopher Weaver" initials="CW" lastIdx="3" clrIdx="5">
    <p:extLst>
      <p:ext uri="{19B8F6BF-5375-455C-9EA6-DF929625EA0E}">
        <p15:presenceInfo xmlns:p15="http://schemas.microsoft.com/office/powerpoint/2012/main" userId="S::christwe@microsoft.com::2d47d5c7-389a-4b91-8fc5-dfad12ad20c7" providerId="AD"/>
      </p:ext>
    </p:extLst>
  </p:cmAuthor>
  <p:cmAuthor id="6" name="Rishabh Mathur" initials="RM" lastIdx="3" clrIdx="6">
    <p:extLst>
      <p:ext uri="{19B8F6BF-5375-455C-9EA6-DF929625EA0E}">
        <p15:presenceInfo xmlns:p15="http://schemas.microsoft.com/office/powerpoint/2012/main" userId="S::rimathur@microsoft.com::085a90ad-ff62-452d-9cc6-fb668aecc57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2050"/>
    <a:srgbClr val="00188F"/>
    <a:srgbClr val="107C10"/>
    <a:srgbClr val="008272"/>
    <a:srgbClr val="B4009E"/>
    <a:srgbClr val="00BCF2"/>
    <a:srgbClr val="525252"/>
    <a:srgbClr val="737373"/>
    <a:srgbClr val="E300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2" d="100"/>
          <a:sy n="102" d="100"/>
        </p:scale>
        <p:origin x="36" y="348"/>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notesMaster" Target="notesMasters/notesMaster1.xml"/><Relationship Id="rId53" Type="http://schemas.microsoft.com/office/2018/10/relationships/authors" Target="authors.xml"/><Relationship Id="rId5" Type="http://schemas.openxmlformats.org/officeDocument/2006/relationships/slideMaster" Target="slideMasters/slideMaster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handoutMaster" Target="handoutMasters/handoutMaster1.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shabh Mathur" userId="S::rimathur@microsoft.com::085a90ad-ff62-452d-9cc6-fb668aecc57d" providerId="AD" clId="Web-{38633167-347F-2D1F-D775-5066BFA52BFB}"/>
    <pc:docChg chg="delSld">
      <pc:chgData name="Rishabh Mathur" userId="S::rimathur@microsoft.com::085a90ad-ff62-452d-9cc6-fb668aecc57d" providerId="AD" clId="Web-{38633167-347F-2D1F-D775-5066BFA52BFB}" dt="2020-11-05T17:53:35.294" v="0"/>
      <pc:docMkLst>
        <pc:docMk/>
      </pc:docMkLst>
      <pc:sldChg chg="del">
        <pc:chgData name="Rishabh Mathur" userId="S::rimathur@microsoft.com::085a90ad-ff62-452d-9cc6-fb668aecc57d" providerId="AD" clId="Web-{38633167-347F-2D1F-D775-5066BFA52BFB}" dt="2020-11-05T17:53:35.294" v="0"/>
        <pc:sldMkLst>
          <pc:docMk/>
          <pc:sldMk cId="341693129" sldId="2007"/>
        </pc:sldMkLst>
      </pc:sldChg>
    </pc:docChg>
  </pc:docChgLst>
  <pc:docChgLst>
    <pc:chgData name="Rishabh Mathur" userId="S::rimathur@microsoft.com::085a90ad-ff62-452d-9cc6-fb668aecc57d" providerId="AD" clId="Web-{255AC59F-F05D-0000-D565-A4B6063A107A}"/>
    <pc:docChg chg="addSld">
      <pc:chgData name="Rishabh Mathur" userId="S::rimathur@microsoft.com::085a90ad-ff62-452d-9cc6-fb668aecc57d" providerId="AD" clId="Web-{255AC59F-F05D-0000-D565-A4B6063A107A}" dt="2021-05-06T20:55:43.914" v="7"/>
      <pc:docMkLst>
        <pc:docMk/>
      </pc:docMkLst>
      <pc:sldChg chg="add">
        <pc:chgData name="Rishabh Mathur" userId="S::rimathur@microsoft.com::085a90ad-ff62-452d-9cc6-fb668aecc57d" providerId="AD" clId="Web-{255AC59F-F05D-0000-D565-A4B6063A107A}" dt="2021-05-06T20:54:35.347" v="0"/>
        <pc:sldMkLst>
          <pc:docMk/>
          <pc:sldMk cId="1185016363" sldId="2014"/>
        </pc:sldMkLst>
      </pc:sldChg>
      <pc:sldChg chg="add">
        <pc:chgData name="Rishabh Mathur" userId="S::rimathur@microsoft.com::085a90ad-ff62-452d-9cc6-fb668aecc57d" providerId="AD" clId="Web-{255AC59F-F05D-0000-D565-A4B6063A107A}" dt="2021-05-06T20:54:35.675" v="1"/>
        <pc:sldMkLst>
          <pc:docMk/>
          <pc:sldMk cId="4061991580" sldId="2015"/>
        </pc:sldMkLst>
      </pc:sldChg>
      <pc:sldChg chg="add">
        <pc:chgData name="Rishabh Mathur" userId="S::rimathur@microsoft.com::085a90ad-ff62-452d-9cc6-fb668aecc57d" providerId="AD" clId="Web-{255AC59F-F05D-0000-D565-A4B6063A107A}" dt="2021-05-06T20:54:35.816" v="2"/>
        <pc:sldMkLst>
          <pc:docMk/>
          <pc:sldMk cId="3105429849" sldId="2016"/>
        </pc:sldMkLst>
      </pc:sldChg>
      <pc:sldChg chg="add">
        <pc:chgData name="Rishabh Mathur" userId="S::rimathur@microsoft.com::085a90ad-ff62-452d-9cc6-fb668aecc57d" providerId="AD" clId="Web-{255AC59F-F05D-0000-D565-A4B6063A107A}" dt="2021-05-06T20:54:35.894" v="3"/>
        <pc:sldMkLst>
          <pc:docMk/>
          <pc:sldMk cId="3289401503" sldId="2017"/>
        </pc:sldMkLst>
      </pc:sldChg>
      <pc:sldChg chg="add">
        <pc:chgData name="Rishabh Mathur" userId="S::rimathur@microsoft.com::085a90ad-ff62-452d-9cc6-fb668aecc57d" providerId="AD" clId="Web-{255AC59F-F05D-0000-D565-A4B6063A107A}" dt="2021-05-06T20:55:12.959" v="4"/>
        <pc:sldMkLst>
          <pc:docMk/>
          <pc:sldMk cId="1637765320" sldId="2018"/>
        </pc:sldMkLst>
      </pc:sldChg>
      <pc:sldChg chg="add">
        <pc:chgData name="Rishabh Mathur" userId="S::rimathur@microsoft.com::085a90ad-ff62-452d-9cc6-fb668aecc57d" providerId="AD" clId="Web-{255AC59F-F05D-0000-D565-A4B6063A107A}" dt="2021-05-06T20:55:13.100" v="5"/>
        <pc:sldMkLst>
          <pc:docMk/>
          <pc:sldMk cId="1048029976" sldId="2019"/>
        </pc:sldMkLst>
      </pc:sldChg>
      <pc:sldChg chg="add">
        <pc:chgData name="Rishabh Mathur" userId="S::rimathur@microsoft.com::085a90ad-ff62-452d-9cc6-fb668aecc57d" providerId="AD" clId="Web-{255AC59F-F05D-0000-D565-A4B6063A107A}" dt="2021-05-06T20:55:13.225" v="6"/>
        <pc:sldMkLst>
          <pc:docMk/>
          <pc:sldMk cId="453590085" sldId="2020"/>
        </pc:sldMkLst>
      </pc:sldChg>
      <pc:sldChg chg="add">
        <pc:chgData name="Rishabh Mathur" userId="S::rimathur@microsoft.com::085a90ad-ff62-452d-9cc6-fb668aecc57d" providerId="AD" clId="Web-{255AC59F-F05D-0000-D565-A4B6063A107A}" dt="2021-05-06T20:55:43.914" v="7"/>
        <pc:sldMkLst>
          <pc:docMk/>
          <pc:sldMk cId="2078375390" sldId="2021"/>
        </pc:sldMkLst>
      </pc:sldChg>
    </pc:docChg>
  </pc:docChgLst>
  <pc:docChgLst>
    <pc:chgData name="Rishabh Mathur" userId="085a90ad-ff62-452d-9cc6-fb668aecc57d" providerId="ADAL" clId="{00E91BF7-396B-4277-88D2-71D837C5DF31}"/>
    <pc:docChg chg="modSld">
      <pc:chgData name="Rishabh Mathur" userId="085a90ad-ff62-452d-9cc6-fb668aecc57d" providerId="ADAL" clId="{00E91BF7-396B-4277-88D2-71D837C5DF31}" dt="2020-05-01T17:56:09.864" v="31"/>
      <pc:docMkLst>
        <pc:docMk/>
      </pc:docMkLst>
      <pc:sldChg chg="modSp mod delCm">
        <pc:chgData name="Rishabh Mathur" userId="085a90ad-ff62-452d-9cc6-fb668aecc57d" providerId="ADAL" clId="{00E91BF7-396B-4277-88D2-71D837C5DF31}" dt="2020-05-01T17:56:09.864" v="31"/>
        <pc:sldMkLst>
          <pc:docMk/>
          <pc:sldMk cId="1325058836" sldId="256"/>
        </pc:sldMkLst>
        <pc:spChg chg="mod">
          <ac:chgData name="Rishabh Mathur" userId="085a90ad-ff62-452d-9cc6-fb668aecc57d" providerId="ADAL" clId="{00E91BF7-396B-4277-88D2-71D837C5DF31}" dt="2020-05-01T17:51:04.325" v="0" actId="6549"/>
          <ac:spMkLst>
            <pc:docMk/>
            <pc:sldMk cId="1325058836" sldId="256"/>
            <ac:spMk id="6" creationId="{00000000-0000-0000-0000-000000000000}"/>
          </ac:spMkLst>
        </pc:spChg>
      </pc:sldChg>
      <pc:sldChg chg="modSp delCm modNotesTx">
        <pc:chgData name="Rishabh Mathur" userId="085a90ad-ff62-452d-9cc6-fb668aecc57d" providerId="ADAL" clId="{00E91BF7-396B-4277-88D2-71D837C5DF31}" dt="2020-05-01T17:56:09.864" v="31"/>
        <pc:sldMkLst>
          <pc:docMk/>
          <pc:sldMk cId="1147957374" sldId="282"/>
        </pc:sldMkLst>
        <pc:spChg chg="mod">
          <ac:chgData name="Rishabh Mathur" userId="085a90ad-ff62-452d-9cc6-fb668aecc57d" providerId="ADAL" clId="{00E91BF7-396B-4277-88D2-71D837C5DF31}" dt="2020-05-01T17:54:37.180" v="29" actId="108"/>
          <ac:spMkLst>
            <pc:docMk/>
            <pc:sldMk cId="1147957374" sldId="282"/>
            <ac:spMk id="3" creationId="{065DB3F3-B1C0-4A47-B824-7B6D35D60263}"/>
          </ac:spMkLst>
        </pc:spChg>
      </pc:sldChg>
      <pc:sldChg chg="delCm">
        <pc:chgData name="Rishabh Mathur" userId="085a90ad-ff62-452d-9cc6-fb668aecc57d" providerId="ADAL" clId="{00E91BF7-396B-4277-88D2-71D837C5DF31}" dt="2020-05-01T17:56:09.864" v="31"/>
        <pc:sldMkLst>
          <pc:docMk/>
          <pc:sldMk cId="1831265177" sldId="1990"/>
        </pc:sldMkLst>
      </pc:sldChg>
    </pc:docChg>
  </pc:docChgLst>
  <pc:docChgLst>
    <pc:chgData name="Rishabh Mathur" userId="S::rimathur@microsoft.com::085a90ad-ff62-452d-9cc6-fb668aecc57d" providerId="AD" clId="Web-{49876FEF-D966-7174-9DFE-E6AD22D897DE}"/>
    <pc:docChg chg="addSld modSld">
      <pc:chgData name="Rishabh Mathur" userId="S::rimathur@microsoft.com::085a90ad-ff62-452d-9cc6-fb668aecc57d" providerId="AD" clId="Web-{49876FEF-D966-7174-9DFE-E6AD22D897DE}" dt="2021-05-07T18:46:28.486" v="93"/>
      <pc:docMkLst>
        <pc:docMk/>
      </pc:docMkLst>
      <pc:sldChg chg="addSp modSp new modNotes">
        <pc:chgData name="Rishabh Mathur" userId="S::rimathur@microsoft.com::085a90ad-ff62-452d-9cc6-fb668aecc57d" providerId="AD" clId="Web-{49876FEF-D966-7174-9DFE-E6AD22D897DE}" dt="2021-05-07T18:46:28.486" v="93"/>
        <pc:sldMkLst>
          <pc:docMk/>
          <pc:sldMk cId="2697959778" sldId="2022"/>
        </pc:sldMkLst>
        <pc:spChg chg="mod">
          <ac:chgData name="Rishabh Mathur" userId="S::rimathur@microsoft.com::085a90ad-ff62-452d-9cc6-fb668aecc57d" providerId="AD" clId="Web-{49876FEF-D966-7174-9DFE-E6AD22D897DE}" dt="2021-05-07T18:39:50.648" v="3" actId="20577"/>
          <ac:spMkLst>
            <pc:docMk/>
            <pc:sldMk cId="2697959778" sldId="2022"/>
            <ac:spMk id="2" creationId="{AF4019DC-86F3-4E9B-98C7-3DDB592F24FB}"/>
          </ac:spMkLst>
        </pc:spChg>
        <pc:spChg chg="add mod">
          <ac:chgData name="Rishabh Mathur" userId="S::rimathur@microsoft.com::085a90ad-ff62-452d-9cc6-fb668aecc57d" providerId="AD" clId="Web-{49876FEF-D966-7174-9DFE-E6AD22D897DE}" dt="2021-05-07T18:45:53.546" v="90" actId="20577"/>
          <ac:spMkLst>
            <pc:docMk/>
            <pc:sldMk cId="2697959778" sldId="2022"/>
            <ac:spMk id="3" creationId="{536E12BC-DC35-4379-A780-AF4A66A60088}"/>
          </ac:spMkLst>
        </pc:spChg>
        <pc:picChg chg="add mod">
          <ac:chgData name="Rishabh Mathur" userId="S::rimathur@microsoft.com::085a90ad-ff62-452d-9cc6-fb668aecc57d" providerId="AD" clId="Web-{49876FEF-D966-7174-9DFE-E6AD22D897DE}" dt="2021-05-07T18:45:27.451" v="81" actId="1076"/>
          <ac:picMkLst>
            <pc:docMk/>
            <pc:sldMk cId="2697959778" sldId="2022"/>
            <ac:picMk id="4" creationId="{3B34A27B-F92B-46A7-A5A0-10A46B99A243}"/>
          </ac:picMkLst>
        </pc:picChg>
        <pc:picChg chg="add mod">
          <ac:chgData name="Rishabh Mathur" userId="S::rimathur@microsoft.com::085a90ad-ff62-452d-9cc6-fb668aecc57d" providerId="AD" clId="Web-{49876FEF-D966-7174-9DFE-E6AD22D897DE}" dt="2021-05-07T18:45:29.764" v="82" actId="1076"/>
          <ac:picMkLst>
            <pc:docMk/>
            <pc:sldMk cId="2697959778" sldId="2022"/>
            <ac:picMk id="5" creationId="{B7C32472-D612-45CF-B343-DB66F2E01092}"/>
          </ac:picMkLst>
        </pc:picChg>
        <pc:picChg chg="add mod">
          <ac:chgData name="Rishabh Mathur" userId="S::rimathur@microsoft.com::085a90ad-ff62-452d-9cc6-fb668aecc57d" providerId="AD" clId="Web-{49876FEF-D966-7174-9DFE-E6AD22D897DE}" dt="2021-05-07T18:45:32.045" v="83" actId="1076"/>
          <ac:picMkLst>
            <pc:docMk/>
            <pc:sldMk cId="2697959778" sldId="2022"/>
            <ac:picMk id="6" creationId="{4B56FFEA-EA26-4D9B-8B9D-27696FA709F3}"/>
          </ac:picMkLst>
        </pc:picChg>
        <pc:picChg chg="add mod">
          <ac:chgData name="Rishabh Mathur" userId="S::rimathur@microsoft.com::085a90ad-ff62-452d-9cc6-fb668aecc57d" providerId="AD" clId="Web-{49876FEF-D966-7174-9DFE-E6AD22D897DE}" dt="2021-05-07T18:45:47.483" v="86" actId="1076"/>
          <ac:picMkLst>
            <pc:docMk/>
            <pc:sldMk cId="2697959778" sldId="2022"/>
            <ac:picMk id="7" creationId="{696CD854-1EB3-4246-8788-32311953E2A5}"/>
          </ac:picMkLst>
        </pc:picChg>
      </pc:sldChg>
    </pc:docChg>
  </pc:docChgLst>
  <pc:docChgLst>
    <pc:chgData name="Gilbert Nickelson" userId="S::gilbertn@microsoft.com::736df813-e39d-4bfb-9090-01d3a22ed6ab" providerId="AD" clId="Web-{F2C27518-3C51-456B-90A5-74BB39255647}"/>
    <pc:docChg chg="mod">
      <pc:chgData name="Gilbert Nickelson" userId="S::gilbertn@microsoft.com::736df813-e39d-4bfb-9090-01d3a22ed6ab" providerId="AD" clId="Web-{F2C27518-3C51-456B-90A5-74BB39255647}" dt="2022-08-13T19:34:50.715" v="11"/>
      <pc:docMkLst>
        <pc:docMk/>
      </pc:docMkLst>
      <pc:sldChg chg="addCm">
        <pc:chgData name="Gilbert Nickelson" userId="S::gilbertn@microsoft.com::736df813-e39d-4bfb-9090-01d3a22ed6ab" providerId="AD" clId="Web-{F2C27518-3C51-456B-90A5-74BB39255647}" dt="2022-08-13T18:56:16.931" v="5"/>
        <pc:sldMkLst>
          <pc:docMk/>
          <pc:sldMk cId="2355728576" sldId="278"/>
        </pc:sldMkLst>
      </pc:sldChg>
      <pc:sldChg chg="addCm">
        <pc:chgData name="Gilbert Nickelson" userId="S::gilbertn@microsoft.com::736df813-e39d-4bfb-9090-01d3a22ed6ab" providerId="AD" clId="Web-{F2C27518-3C51-456B-90A5-74BB39255647}" dt="2022-08-13T19:34:29.449" v="10"/>
        <pc:sldMkLst>
          <pc:docMk/>
          <pc:sldMk cId="1147957374" sldId="282"/>
        </pc:sldMkLst>
      </pc:sldChg>
      <pc:sldChg chg="addCm">
        <pc:chgData name="Gilbert Nickelson" userId="S::gilbertn@microsoft.com::736df813-e39d-4bfb-9090-01d3a22ed6ab" providerId="AD" clId="Web-{F2C27518-3C51-456B-90A5-74BB39255647}" dt="2022-08-13T19:34:50.715" v="11"/>
        <pc:sldMkLst>
          <pc:docMk/>
          <pc:sldMk cId="3550844832" sldId="283"/>
        </pc:sldMkLst>
      </pc:sldChg>
      <pc:sldChg chg="addCm">
        <pc:chgData name="Gilbert Nickelson" userId="S::gilbertn@microsoft.com::736df813-e39d-4bfb-9090-01d3a22ed6ab" providerId="AD" clId="Web-{F2C27518-3C51-456B-90A5-74BB39255647}" dt="2022-08-13T19:13:33.665" v="7"/>
        <pc:sldMkLst>
          <pc:docMk/>
          <pc:sldMk cId="3716265243" sldId="1966"/>
        </pc:sldMkLst>
      </pc:sldChg>
      <pc:sldChg chg="addCm">
        <pc:chgData name="Gilbert Nickelson" userId="S::gilbertn@microsoft.com::736df813-e39d-4bfb-9090-01d3a22ed6ab" providerId="AD" clId="Web-{F2C27518-3C51-456B-90A5-74BB39255647}" dt="2022-08-13T18:54:48.193" v="4"/>
        <pc:sldMkLst>
          <pc:docMk/>
          <pc:sldMk cId="1735364846" sldId="1981"/>
        </pc:sldMkLst>
      </pc:sldChg>
      <pc:sldChg chg="addCm">
        <pc:chgData name="Gilbert Nickelson" userId="S::gilbertn@microsoft.com::736df813-e39d-4bfb-9090-01d3a22ed6ab" providerId="AD" clId="Web-{F2C27518-3C51-456B-90A5-74BB39255647}" dt="2022-08-13T19:01:08.290" v="6"/>
        <pc:sldMkLst>
          <pc:docMk/>
          <pc:sldMk cId="3571336088" sldId="1991"/>
        </pc:sldMkLst>
      </pc:sldChg>
      <pc:sldChg chg="addCm modCm">
        <pc:chgData name="Gilbert Nickelson" userId="S::gilbertn@microsoft.com::736df813-e39d-4bfb-9090-01d3a22ed6ab" providerId="AD" clId="Web-{F2C27518-3C51-456B-90A5-74BB39255647}" dt="2022-08-13T19:19:21.343" v="9"/>
        <pc:sldMkLst>
          <pc:docMk/>
          <pc:sldMk cId="989663208" sldId="2002"/>
        </pc:sldMkLst>
      </pc:sldChg>
      <pc:sldChg chg="addCm">
        <pc:chgData name="Gilbert Nickelson" userId="S::gilbertn@microsoft.com::736df813-e39d-4bfb-9090-01d3a22ed6ab" providerId="AD" clId="Web-{F2C27518-3C51-456B-90A5-74BB39255647}" dt="2022-08-13T18:47:08.564" v="3"/>
        <pc:sldMkLst>
          <pc:docMk/>
          <pc:sldMk cId="4061991580" sldId="2015"/>
        </pc:sldMkLst>
      </pc:sldChg>
      <pc:sldChg chg="addCm">
        <pc:chgData name="Gilbert Nickelson" userId="S::gilbertn@microsoft.com::736df813-e39d-4bfb-9090-01d3a22ed6ab" providerId="AD" clId="Web-{F2C27518-3C51-456B-90A5-74BB39255647}" dt="2022-08-13T18:46:36.984" v="2"/>
        <pc:sldMkLst>
          <pc:docMk/>
          <pc:sldMk cId="3105429849" sldId="2016"/>
        </pc:sldMkLst>
      </pc:sldChg>
      <pc:sldChg chg="addCm">
        <pc:chgData name="Gilbert Nickelson" userId="S::gilbertn@microsoft.com::736df813-e39d-4bfb-9090-01d3a22ed6ab" providerId="AD" clId="Web-{F2C27518-3C51-456B-90A5-74BB39255647}" dt="2022-08-13T18:41:57.893" v="1"/>
        <pc:sldMkLst>
          <pc:docMk/>
          <pc:sldMk cId="2697959778" sldId="2022"/>
        </pc:sldMkLst>
      </pc:sldChg>
    </pc:docChg>
  </pc:docChgLst>
  <pc:docChgLst>
    <pc:chgData name="Christopher Weaver" userId="2d47d5c7-389a-4b91-8fc5-dfad12ad20c7" providerId="ADAL" clId="{C96DBB5B-E931-4448-AC79-E0D0A667547A}"/>
    <pc:docChg chg="undo custSel addSld delSld modSld">
      <pc:chgData name="Christopher Weaver" userId="2d47d5c7-389a-4b91-8fc5-dfad12ad20c7" providerId="ADAL" clId="{C96DBB5B-E931-4448-AC79-E0D0A667547A}" dt="2020-10-08T16:37:02.633" v="1105" actId="113"/>
      <pc:docMkLst>
        <pc:docMk/>
      </pc:docMkLst>
      <pc:sldChg chg="modSp add mod">
        <pc:chgData name="Christopher Weaver" userId="2d47d5c7-389a-4b91-8fc5-dfad12ad20c7" providerId="ADAL" clId="{C96DBB5B-E931-4448-AC79-E0D0A667547A}" dt="2020-10-08T16:19:42.645" v="979" actId="1076"/>
        <pc:sldMkLst>
          <pc:docMk/>
          <pc:sldMk cId="2196428951" sldId="2008"/>
        </pc:sldMkLst>
        <pc:spChg chg="mod">
          <ac:chgData name="Christopher Weaver" userId="2d47d5c7-389a-4b91-8fc5-dfad12ad20c7" providerId="ADAL" clId="{C96DBB5B-E931-4448-AC79-E0D0A667547A}" dt="2020-10-08T16:19:42.645" v="979" actId="1076"/>
          <ac:spMkLst>
            <pc:docMk/>
            <pc:sldMk cId="2196428951" sldId="2008"/>
            <ac:spMk id="2" creationId="{4B90FCF2-EECD-430D-9A80-C888748FFCE6}"/>
          </ac:spMkLst>
        </pc:spChg>
      </pc:sldChg>
      <pc:sldChg chg="addSp delSp add del setBg">
        <pc:chgData name="Christopher Weaver" userId="2d47d5c7-389a-4b91-8fc5-dfad12ad20c7" providerId="ADAL" clId="{C96DBB5B-E931-4448-AC79-E0D0A667547A}" dt="2020-09-28T14:08:00.452" v="1"/>
        <pc:sldMkLst>
          <pc:docMk/>
          <pc:sldMk cId="2292048670" sldId="2008"/>
        </pc:sldMkLst>
        <pc:spChg chg="add del">
          <ac:chgData name="Christopher Weaver" userId="2d47d5c7-389a-4b91-8fc5-dfad12ad20c7" providerId="ADAL" clId="{C96DBB5B-E931-4448-AC79-E0D0A667547A}" dt="2020-09-28T14:08:00.452" v="1"/>
          <ac:spMkLst>
            <pc:docMk/>
            <pc:sldMk cId="2292048670" sldId="2008"/>
            <ac:spMk id="29" creationId="{6F9EB9F2-07E2-4D64-BBD8-BB5B217F1218}"/>
          </ac:spMkLst>
        </pc:spChg>
        <pc:cxnChg chg="add del">
          <ac:chgData name="Christopher Weaver" userId="2d47d5c7-389a-4b91-8fc5-dfad12ad20c7" providerId="ADAL" clId="{C96DBB5B-E931-4448-AC79-E0D0A667547A}" dt="2020-09-28T14:08:00.452" v="1"/>
          <ac:cxnSpMkLst>
            <pc:docMk/>
            <pc:sldMk cId="2292048670" sldId="2008"/>
            <ac:cxnSpMk id="30" creationId="{F0C57C7C-DFE9-4A1E-B7A9-DF40E63366BB}"/>
          </ac:cxnSpMkLst>
        </pc:cxnChg>
      </pc:sldChg>
      <pc:sldChg chg="addSp delSp modSp mod modNotesTx">
        <pc:chgData name="Christopher Weaver" userId="2d47d5c7-389a-4b91-8fc5-dfad12ad20c7" providerId="ADAL" clId="{C96DBB5B-E931-4448-AC79-E0D0A667547A}" dt="2020-10-08T16:37:02.633" v="1105" actId="113"/>
        <pc:sldMkLst>
          <pc:docMk/>
          <pc:sldMk cId="2167425751" sldId="2009"/>
        </pc:sldMkLst>
        <pc:spChg chg="add del mod">
          <ac:chgData name="Christopher Weaver" userId="2d47d5c7-389a-4b91-8fc5-dfad12ad20c7" providerId="ADAL" clId="{C96DBB5B-E931-4448-AC79-E0D0A667547A}" dt="2020-10-08T15:55:23.041" v="790"/>
          <ac:spMkLst>
            <pc:docMk/>
            <pc:sldMk cId="2167425751" sldId="2009"/>
            <ac:spMk id="4" creationId="{A6287094-1DFB-4A99-96C4-4C47E3A018CD}"/>
          </ac:spMkLst>
        </pc:spChg>
        <pc:graphicFrameChg chg="add mod modGraphic">
          <ac:chgData name="Christopher Weaver" userId="2d47d5c7-389a-4b91-8fc5-dfad12ad20c7" providerId="ADAL" clId="{C96DBB5B-E931-4448-AC79-E0D0A667547A}" dt="2020-10-08T15:56:58.328" v="831" actId="20577"/>
          <ac:graphicFrameMkLst>
            <pc:docMk/>
            <pc:sldMk cId="2167425751" sldId="2009"/>
            <ac:graphicFrameMk id="3" creationId="{A610A98E-9C86-4D2F-B42F-B15BA871A93A}"/>
          </ac:graphicFrameMkLst>
        </pc:graphicFrameChg>
        <pc:picChg chg="add del mod">
          <ac:chgData name="Christopher Weaver" userId="2d47d5c7-389a-4b91-8fc5-dfad12ad20c7" providerId="ADAL" clId="{C96DBB5B-E931-4448-AC79-E0D0A667547A}" dt="2020-10-08T15:55:47.592" v="795" actId="1076"/>
          <ac:picMkLst>
            <pc:docMk/>
            <pc:sldMk cId="2167425751" sldId="2009"/>
            <ac:picMk id="1026" creationId="{7762D949-14AC-4356-9B8F-5BCB503356D8}"/>
          </ac:picMkLst>
        </pc:picChg>
      </pc:sldChg>
      <pc:sldChg chg="addSp modSp mod modNotesTx">
        <pc:chgData name="Christopher Weaver" userId="2d47d5c7-389a-4b91-8fc5-dfad12ad20c7" providerId="ADAL" clId="{C96DBB5B-E931-4448-AC79-E0D0A667547A}" dt="2020-10-08T15:43:44.137" v="714" actId="20577"/>
        <pc:sldMkLst>
          <pc:docMk/>
          <pc:sldMk cId="608112121" sldId="2010"/>
        </pc:sldMkLst>
        <pc:spChg chg="mod">
          <ac:chgData name="Christopher Weaver" userId="2d47d5c7-389a-4b91-8fc5-dfad12ad20c7" providerId="ADAL" clId="{C96DBB5B-E931-4448-AC79-E0D0A667547A}" dt="2020-10-08T14:46:45.169" v="127" actId="20577"/>
          <ac:spMkLst>
            <pc:docMk/>
            <pc:sldMk cId="608112121" sldId="2010"/>
            <ac:spMk id="2" creationId="{9F11DA1D-3015-4115-A46F-08C300A8EA0B}"/>
          </ac:spMkLst>
        </pc:spChg>
        <pc:spChg chg="mod">
          <ac:chgData name="Christopher Weaver" userId="2d47d5c7-389a-4b91-8fc5-dfad12ad20c7" providerId="ADAL" clId="{C96DBB5B-E931-4448-AC79-E0D0A667547A}" dt="2020-10-08T14:35:39.048" v="38" actId="21"/>
          <ac:spMkLst>
            <pc:docMk/>
            <pc:sldMk cId="608112121" sldId="2010"/>
            <ac:spMk id="4" creationId="{257FC62E-49E3-444E-A85B-32C19485B2EA}"/>
          </ac:spMkLst>
        </pc:spChg>
        <pc:graphicFrameChg chg="add mod modGraphic">
          <ac:chgData name="Christopher Weaver" userId="2d47d5c7-389a-4b91-8fc5-dfad12ad20c7" providerId="ADAL" clId="{C96DBB5B-E931-4448-AC79-E0D0A667547A}" dt="2020-10-08T15:12:13.176" v="177" actId="13782"/>
          <ac:graphicFrameMkLst>
            <pc:docMk/>
            <pc:sldMk cId="608112121" sldId="2010"/>
            <ac:graphicFrameMk id="3" creationId="{BC7AE67D-4F38-4552-98BA-28FAED1B466A}"/>
          </ac:graphicFrameMkLst>
        </pc:graphicFrameChg>
      </pc:sldChg>
      <pc:sldChg chg="modSp del mod modShow">
        <pc:chgData name="Christopher Weaver" userId="2d47d5c7-389a-4b91-8fc5-dfad12ad20c7" providerId="ADAL" clId="{C96DBB5B-E931-4448-AC79-E0D0A667547A}" dt="2020-10-08T15:48:01.953" v="773" actId="2696"/>
        <pc:sldMkLst>
          <pc:docMk/>
          <pc:sldMk cId="3262157156" sldId="2011"/>
        </pc:sldMkLst>
        <pc:spChg chg="mod">
          <ac:chgData name="Christopher Weaver" userId="2d47d5c7-389a-4b91-8fc5-dfad12ad20c7" providerId="ADAL" clId="{C96DBB5B-E931-4448-AC79-E0D0A667547A}" dt="2020-10-08T14:45:34.882" v="97" actId="20577"/>
          <ac:spMkLst>
            <pc:docMk/>
            <pc:sldMk cId="3262157156" sldId="2011"/>
            <ac:spMk id="2" creationId="{24713F2B-2C02-4E78-A0FA-28C18FD685BC}"/>
          </ac:spMkLst>
        </pc:spChg>
        <pc:spChg chg="mod">
          <ac:chgData name="Christopher Weaver" userId="2d47d5c7-389a-4b91-8fc5-dfad12ad20c7" providerId="ADAL" clId="{C96DBB5B-E931-4448-AC79-E0D0A667547A}" dt="2020-10-08T14:43:27.489" v="80" actId="1076"/>
          <ac:spMkLst>
            <pc:docMk/>
            <pc:sldMk cId="3262157156" sldId="2011"/>
            <ac:spMk id="4" creationId="{51C5443A-2063-4C6D-8E3B-D3F08B6D23C8}"/>
          </ac:spMkLst>
        </pc:spChg>
        <pc:spChg chg="mod">
          <ac:chgData name="Christopher Weaver" userId="2d47d5c7-389a-4b91-8fc5-dfad12ad20c7" providerId="ADAL" clId="{C96DBB5B-E931-4448-AC79-E0D0A667547A}" dt="2020-10-08T15:44:44.781" v="715" actId="1076"/>
          <ac:spMkLst>
            <pc:docMk/>
            <pc:sldMk cId="3262157156" sldId="2011"/>
            <ac:spMk id="6" creationId="{F5201B5A-7173-426D-9E9C-024869FCF267}"/>
          </ac:spMkLst>
        </pc:spChg>
      </pc:sldChg>
      <pc:sldChg chg="addSp modSp mod modNotesTx">
        <pc:chgData name="Christopher Weaver" userId="2d47d5c7-389a-4b91-8fc5-dfad12ad20c7" providerId="ADAL" clId="{C96DBB5B-E931-4448-AC79-E0D0A667547A}" dt="2020-10-08T15:47:43.277" v="772" actId="20577"/>
        <pc:sldMkLst>
          <pc:docMk/>
          <pc:sldMk cId="4108220385" sldId="2012"/>
        </pc:sldMkLst>
        <pc:spChg chg="add mod">
          <ac:chgData name="Christopher Weaver" userId="2d47d5c7-389a-4b91-8fc5-dfad12ad20c7" providerId="ADAL" clId="{C96DBB5B-E931-4448-AC79-E0D0A667547A}" dt="2020-10-08T15:38:19.709" v="613" actId="1076"/>
          <ac:spMkLst>
            <pc:docMk/>
            <pc:sldMk cId="4108220385" sldId="2012"/>
            <ac:spMk id="3" creationId="{8ADA5948-1913-463F-8CC4-C9CB6AD671F0}"/>
          </ac:spMkLst>
        </pc:spChg>
        <pc:spChg chg="add mod">
          <ac:chgData name="Christopher Weaver" userId="2d47d5c7-389a-4b91-8fc5-dfad12ad20c7" providerId="ADAL" clId="{C96DBB5B-E931-4448-AC79-E0D0A667547A}" dt="2020-10-08T15:39:11.649" v="626" actId="6549"/>
          <ac:spMkLst>
            <pc:docMk/>
            <pc:sldMk cId="4108220385" sldId="2012"/>
            <ac:spMk id="6" creationId="{D0951595-B4E9-4648-9AD7-C6783C266DA9}"/>
          </ac:spMkLst>
        </pc:spChg>
        <pc:picChg chg="add mod">
          <ac:chgData name="Christopher Weaver" userId="2d47d5c7-389a-4b91-8fc5-dfad12ad20c7" providerId="ADAL" clId="{C96DBB5B-E931-4448-AC79-E0D0A667547A}" dt="2020-10-08T15:38:32.947" v="616" actId="14100"/>
          <ac:picMkLst>
            <pc:docMk/>
            <pc:sldMk cId="4108220385" sldId="2012"/>
            <ac:picMk id="4" creationId="{07CA59F1-978F-45C5-ADFF-16946D2E51F9}"/>
          </ac:picMkLst>
        </pc:picChg>
      </pc:sldChg>
      <pc:sldChg chg="addSp modSp new mod modNotesTx">
        <pc:chgData name="Christopher Weaver" userId="2d47d5c7-389a-4b91-8fc5-dfad12ad20c7" providerId="ADAL" clId="{C96DBB5B-E931-4448-AC79-E0D0A667547A}" dt="2020-10-08T15:39:56.126" v="646" actId="113"/>
        <pc:sldMkLst>
          <pc:docMk/>
          <pc:sldMk cId="1120387613" sldId="2013"/>
        </pc:sldMkLst>
        <pc:spChg chg="mod">
          <ac:chgData name="Christopher Weaver" userId="2d47d5c7-389a-4b91-8fc5-dfad12ad20c7" providerId="ADAL" clId="{C96DBB5B-E931-4448-AC79-E0D0A667547A}" dt="2020-10-08T14:46:56.329" v="150" actId="20577"/>
          <ac:spMkLst>
            <pc:docMk/>
            <pc:sldMk cId="1120387613" sldId="2013"/>
            <ac:spMk id="2" creationId="{F635B666-06D9-4DEC-8149-5A205CEA7357}"/>
          </ac:spMkLst>
        </pc:spChg>
        <pc:graphicFrameChg chg="add mod modGraphic">
          <ac:chgData name="Christopher Weaver" userId="2d47d5c7-389a-4b91-8fc5-dfad12ad20c7" providerId="ADAL" clId="{C96DBB5B-E931-4448-AC79-E0D0A667547A}" dt="2020-10-08T15:19:42.872" v="525" actId="14100"/>
          <ac:graphicFrameMkLst>
            <pc:docMk/>
            <pc:sldMk cId="1120387613" sldId="2013"/>
            <ac:graphicFrameMk id="3" creationId="{6AE47AF7-3091-4B6D-8E1E-DC6B1606FD43}"/>
          </ac:graphicFrameMkLst>
        </pc:graphicFrameChg>
      </pc:sldChg>
    </pc:docChg>
  </pc:docChgLst>
  <pc:docChgLst>
    <pc:chgData name="Christopher Weaver" userId="2d47d5c7-389a-4b91-8fc5-dfad12ad20c7" providerId="ADAL" clId="{4941CB49-7DF0-426A-BED7-CB6AEB8F7B91}"/>
    <pc:docChg chg="undo custSel addSld delSld modSld">
      <pc:chgData name="Christopher Weaver" userId="2d47d5c7-389a-4b91-8fc5-dfad12ad20c7" providerId="ADAL" clId="{4941CB49-7DF0-426A-BED7-CB6AEB8F7B91}" dt="2020-07-31T14:31:43.760" v="869" actId="20577"/>
      <pc:docMkLst>
        <pc:docMk/>
      </pc:docMkLst>
      <pc:sldChg chg="delSp modSp">
        <pc:chgData name="Christopher Weaver" userId="2d47d5c7-389a-4b91-8fc5-dfad12ad20c7" providerId="ADAL" clId="{4941CB49-7DF0-426A-BED7-CB6AEB8F7B91}" dt="2020-07-31T13:49:31.685" v="0"/>
        <pc:sldMkLst>
          <pc:docMk/>
          <pc:sldMk cId="2355728576" sldId="278"/>
        </pc:sldMkLst>
        <pc:picChg chg="del mod">
          <ac:chgData name="Christopher Weaver" userId="2d47d5c7-389a-4b91-8fc5-dfad12ad20c7" providerId="ADAL" clId="{4941CB49-7DF0-426A-BED7-CB6AEB8F7B91}" dt="2020-07-31T13:49:31.685" v="0"/>
          <ac:picMkLst>
            <pc:docMk/>
            <pc:sldMk cId="2355728576" sldId="278"/>
            <ac:picMk id="2" creationId="{B7FED9A8-C274-4516-997E-E04B91668616}"/>
          </ac:picMkLst>
        </pc:picChg>
      </pc:sldChg>
      <pc:sldChg chg="addSp delSp modSp mod modNotesTx">
        <pc:chgData name="Christopher Weaver" userId="2d47d5c7-389a-4b91-8fc5-dfad12ad20c7" providerId="ADAL" clId="{4941CB49-7DF0-426A-BED7-CB6AEB8F7B91}" dt="2020-07-31T14:23:56.728" v="819" actId="20577"/>
        <pc:sldMkLst>
          <pc:docMk/>
          <pc:sldMk cId="1323131104" sldId="423"/>
        </pc:sldMkLst>
        <pc:spChg chg="del">
          <ac:chgData name="Christopher Weaver" userId="2d47d5c7-389a-4b91-8fc5-dfad12ad20c7" providerId="ADAL" clId="{4941CB49-7DF0-426A-BED7-CB6AEB8F7B91}" dt="2020-07-31T14:17:15.040" v="599" actId="478"/>
          <ac:spMkLst>
            <pc:docMk/>
            <pc:sldMk cId="1323131104" sldId="423"/>
            <ac:spMk id="2" creationId="{00000000-0000-0000-0000-000000000000}"/>
          </ac:spMkLst>
        </pc:spChg>
        <pc:spChg chg="del">
          <ac:chgData name="Christopher Weaver" userId="2d47d5c7-389a-4b91-8fc5-dfad12ad20c7" providerId="ADAL" clId="{4941CB49-7DF0-426A-BED7-CB6AEB8F7B91}" dt="2020-07-31T14:17:41.796" v="602" actId="478"/>
          <ac:spMkLst>
            <pc:docMk/>
            <pc:sldMk cId="1323131104" sldId="423"/>
            <ac:spMk id="4" creationId="{00000000-0000-0000-0000-000000000000}"/>
          </ac:spMkLst>
        </pc:spChg>
        <pc:spChg chg="add mod">
          <ac:chgData name="Christopher Weaver" userId="2d47d5c7-389a-4b91-8fc5-dfad12ad20c7" providerId="ADAL" clId="{4941CB49-7DF0-426A-BED7-CB6AEB8F7B91}" dt="2020-07-31T14:17:23.025" v="601" actId="1076"/>
          <ac:spMkLst>
            <pc:docMk/>
            <pc:sldMk cId="1323131104" sldId="423"/>
            <ac:spMk id="5" creationId="{10A43045-C566-45CB-B535-5351D160656F}"/>
          </ac:spMkLst>
        </pc:spChg>
        <pc:spChg chg="add del mod">
          <ac:chgData name="Christopher Weaver" userId="2d47d5c7-389a-4b91-8fc5-dfad12ad20c7" providerId="ADAL" clId="{4941CB49-7DF0-426A-BED7-CB6AEB8F7B91}" dt="2020-07-31T14:17:17.631" v="600" actId="478"/>
          <ac:spMkLst>
            <pc:docMk/>
            <pc:sldMk cId="1323131104" sldId="423"/>
            <ac:spMk id="6" creationId="{ECB34D50-A4D8-449F-8161-F16D3DFC773D}"/>
          </ac:spMkLst>
        </pc:spChg>
        <pc:spChg chg="add del mod">
          <ac:chgData name="Christopher Weaver" userId="2d47d5c7-389a-4b91-8fc5-dfad12ad20c7" providerId="ADAL" clId="{4941CB49-7DF0-426A-BED7-CB6AEB8F7B91}" dt="2020-07-31T14:17:45.572" v="603" actId="478"/>
          <ac:spMkLst>
            <pc:docMk/>
            <pc:sldMk cId="1323131104" sldId="423"/>
            <ac:spMk id="8" creationId="{62D8717C-D66B-4A7F-95C3-C00683226E65}"/>
          </ac:spMkLst>
        </pc:spChg>
        <pc:spChg chg="add mod">
          <ac:chgData name="Christopher Weaver" userId="2d47d5c7-389a-4b91-8fc5-dfad12ad20c7" providerId="ADAL" clId="{4941CB49-7DF0-426A-BED7-CB6AEB8F7B91}" dt="2020-07-31T14:23:56.728" v="819" actId="20577"/>
          <ac:spMkLst>
            <pc:docMk/>
            <pc:sldMk cId="1323131104" sldId="423"/>
            <ac:spMk id="10" creationId="{57D0DEBB-4EAB-411C-BF3B-19B442A31C0D}"/>
          </ac:spMkLst>
        </pc:spChg>
      </pc:sldChg>
      <pc:sldChg chg="addSp delSp modSp mod modNotesTx">
        <pc:chgData name="Christopher Weaver" userId="2d47d5c7-389a-4b91-8fc5-dfad12ad20c7" providerId="ADAL" clId="{4941CB49-7DF0-426A-BED7-CB6AEB8F7B91}" dt="2020-07-31T14:31:43.760" v="869" actId="20577"/>
        <pc:sldMkLst>
          <pc:docMk/>
          <pc:sldMk cId="3571336088" sldId="1991"/>
        </pc:sldMkLst>
        <pc:spChg chg="add del mod">
          <ac:chgData name="Christopher Weaver" userId="2d47d5c7-389a-4b91-8fc5-dfad12ad20c7" providerId="ADAL" clId="{4941CB49-7DF0-426A-BED7-CB6AEB8F7B91}" dt="2020-07-31T13:57:20.019" v="374" actId="478"/>
          <ac:spMkLst>
            <pc:docMk/>
            <pc:sldMk cId="3571336088" sldId="1991"/>
            <ac:spMk id="3" creationId="{67955291-9F69-4EA7-87CE-06B178306C52}"/>
          </ac:spMkLst>
        </pc:spChg>
        <pc:spChg chg="del mod">
          <ac:chgData name="Christopher Weaver" userId="2d47d5c7-389a-4b91-8fc5-dfad12ad20c7" providerId="ADAL" clId="{4941CB49-7DF0-426A-BED7-CB6AEB8F7B91}" dt="2020-07-31T13:56:20.178" v="340" actId="478"/>
          <ac:spMkLst>
            <pc:docMk/>
            <pc:sldMk cId="3571336088" sldId="1991"/>
            <ac:spMk id="4" creationId="{12D8DE96-0708-4A7F-9C9B-9D0A5B378080}"/>
          </ac:spMkLst>
        </pc:spChg>
        <pc:spChg chg="del mod">
          <ac:chgData name="Christopher Weaver" userId="2d47d5c7-389a-4b91-8fc5-dfad12ad20c7" providerId="ADAL" clId="{4941CB49-7DF0-426A-BED7-CB6AEB8F7B91}" dt="2020-07-31T14:07:39.733" v="422" actId="478"/>
          <ac:spMkLst>
            <pc:docMk/>
            <pc:sldMk cId="3571336088" sldId="1991"/>
            <ac:spMk id="5" creationId="{1F868EAD-30D3-4785-878C-0C4B13F2E5EA}"/>
          </ac:spMkLst>
        </pc:spChg>
        <pc:spChg chg="add mod">
          <ac:chgData name="Christopher Weaver" userId="2d47d5c7-389a-4b91-8fc5-dfad12ad20c7" providerId="ADAL" clId="{4941CB49-7DF0-426A-BED7-CB6AEB8F7B91}" dt="2020-07-31T13:57:32.283" v="394" actId="1076"/>
          <ac:spMkLst>
            <pc:docMk/>
            <pc:sldMk cId="3571336088" sldId="1991"/>
            <ac:spMk id="6" creationId="{6761B3AB-9A7C-417C-97E5-FF534041CACA}"/>
          </ac:spMkLst>
        </pc:spChg>
        <pc:spChg chg="add mod">
          <ac:chgData name="Christopher Weaver" userId="2d47d5c7-389a-4b91-8fc5-dfad12ad20c7" providerId="ADAL" clId="{4941CB49-7DF0-426A-BED7-CB6AEB8F7B91}" dt="2020-07-31T14:31:43.760" v="869" actId="20577"/>
          <ac:spMkLst>
            <pc:docMk/>
            <pc:sldMk cId="3571336088" sldId="1991"/>
            <ac:spMk id="7" creationId="{90ACB90D-992B-4408-B3ED-15C194BD74A4}"/>
          </ac:spMkLst>
        </pc:spChg>
        <pc:spChg chg="add del mod">
          <ac:chgData name="Christopher Weaver" userId="2d47d5c7-389a-4b91-8fc5-dfad12ad20c7" providerId="ADAL" clId="{4941CB49-7DF0-426A-BED7-CB6AEB8F7B91}" dt="2020-07-31T14:07:42.184" v="423" actId="478"/>
          <ac:spMkLst>
            <pc:docMk/>
            <pc:sldMk cId="3571336088" sldId="1991"/>
            <ac:spMk id="9" creationId="{777FE5DC-5453-4B9F-B27D-FAA568922688}"/>
          </ac:spMkLst>
        </pc:spChg>
      </pc:sldChg>
      <pc:sldChg chg="addSp delSp modSp add del mod">
        <pc:chgData name="Christopher Weaver" userId="2d47d5c7-389a-4b91-8fc5-dfad12ad20c7" providerId="ADAL" clId="{4941CB49-7DF0-426A-BED7-CB6AEB8F7B91}" dt="2020-07-31T13:51:24.507" v="117" actId="2696"/>
        <pc:sldMkLst>
          <pc:docMk/>
          <pc:sldMk cId="3469495986" sldId="2004"/>
        </pc:sldMkLst>
        <pc:spChg chg="add mod">
          <ac:chgData name="Christopher Weaver" userId="2d47d5c7-389a-4b91-8fc5-dfad12ad20c7" providerId="ADAL" clId="{4941CB49-7DF0-426A-BED7-CB6AEB8F7B91}" dt="2020-07-31T13:50:36.710" v="46" actId="20577"/>
          <ac:spMkLst>
            <pc:docMk/>
            <pc:sldMk cId="3469495986" sldId="2004"/>
            <ac:spMk id="3" creationId="{758F83D2-6A8E-4BBA-A0EC-371EA0AF37A1}"/>
          </ac:spMkLst>
        </pc:spChg>
        <pc:spChg chg="del mod">
          <ac:chgData name="Christopher Weaver" userId="2d47d5c7-389a-4b91-8fc5-dfad12ad20c7" providerId="ADAL" clId="{4941CB49-7DF0-426A-BED7-CB6AEB8F7B91}" dt="2020-07-31T13:50:27.479" v="24" actId="478"/>
          <ac:spMkLst>
            <pc:docMk/>
            <pc:sldMk cId="3469495986" sldId="2004"/>
            <ac:spMk id="4" creationId="{12D8DE96-0708-4A7F-9C9B-9D0A5B378080}"/>
          </ac:spMkLst>
        </pc:spChg>
        <pc:spChg chg="mod">
          <ac:chgData name="Christopher Weaver" userId="2d47d5c7-389a-4b91-8fc5-dfad12ad20c7" providerId="ADAL" clId="{4941CB49-7DF0-426A-BED7-CB6AEB8F7B91}" dt="2020-07-31T13:51:23.909" v="115" actId="12"/>
          <ac:spMkLst>
            <pc:docMk/>
            <pc:sldMk cId="3469495986" sldId="2004"/>
            <ac:spMk id="5" creationId="{1F868EAD-30D3-4785-878C-0C4B13F2E5EA}"/>
          </ac:spMkLst>
        </pc:spChg>
      </pc:sldChg>
      <pc:sldChg chg="modSp add mod modNotesTx">
        <pc:chgData name="Christopher Weaver" userId="2d47d5c7-389a-4b91-8fc5-dfad12ad20c7" providerId="ADAL" clId="{4941CB49-7DF0-426A-BED7-CB6AEB8F7B91}" dt="2020-07-31T14:30:02.507" v="825" actId="255"/>
        <pc:sldMkLst>
          <pc:docMk/>
          <pc:sldMk cId="3433158677" sldId="2005"/>
        </pc:sldMkLst>
        <pc:spChg chg="mod">
          <ac:chgData name="Christopher Weaver" userId="2d47d5c7-389a-4b91-8fc5-dfad12ad20c7" providerId="ADAL" clId="{4941CB49-7DF0-426A-BED7-CB6AEB8F7B91}" dt="2020-07-31T14:30:02.507" v="825" actId="255"/>
          <ac:spMkLst>
            <pc:docMk/>
            <pc:sldMk cId="3433158677" sldId="2005"/>
            <ac:spMk id="5" creationId="{1F868EAD-30D3-4785-878C-0C4B13F2E5EA}"/>
          </ac:spMkLst>
        </pc:spChg>
      </pc:sldChg>
    </pc:docChg>
  </pc:docChgLst>
  <pc:docChgLst>
    <pc:chgData name="Nathan Boothe" userId="S::naboothe@microsoft.com::4c7fa73f-7f07-4ebc-8e24-b897c561fa3d" providerId="AD" clId="Web-{F50BF285-6E19-8147-7A90-2F27F7E17D8D}"/>
    <pc:docChg chg="addSld delSld modSld">
      <pc:chgData name="Nathan Boothe" userId="S::naboothe@microsoft.com::4c7fa73f-7f07-4ebc-8e24-b897c561fa3d" providerId="AD" clId="Web-{F50BF285-6E19-8147-7A90-2F27F7E17D8D}" dt="2022-08-12T15:28:57.999" v="97"/>
      <pc:docMkLst>
        <pc:docMk/>
      </pc:docMkLst>
      <pc:sldChg chg="modSp">
        <pc:chgData name="Nathan Boothe" userId="S::naboothe@microsoft.com::4c7fa73f-7f07-4ebc-8e24-b897c561fa3d" providerId="AD" clId="Web-{F50BF285-6E19-8147-7A90-2F27F7E17D8D}" dt="2022-08-12T15:28:27.905" v="96" actId="20577"/>
        <pc:sldMkLst>
          <pc:docMk/>
          <pc:sldMk cId="2355728576" sldId="278"/>
        </pc:sldMkLst>
        <pc:spChg chg="mod">
          <ac:chgData name="Nathan Boothe" userId="S::naboothe@microsoft.com::4c7fa73f-7f07-4ebc-8e24-b897c561fa3d" providerId="AD" clId="Web-{F50BF285-6E19-8147-7A90-2F27F7E17D8D}" dt="2022-08-12T15:28:27.905" v="96" actId="20577"/>
          <ac:spMkLst>
            <pc:docMk/>
            <pc:sldMk cId="2355728576" sldId="278"/>
            <ac:spMk id="3" creationId="{4C7B2818-D4B6-49AF-BC6D-48A87C308A7A}"/>
          </ac:spMkLst>
        </pc:spChg>
      </pc:sldChg>
      <pc:sldChg chg="del">
        <pc:chgData name="Nathan Boothe" userId="S::naboothe@microsoft.com::4c7fa73f-7f07-4ebc-8e24-b897c561fa3d" providerId="AD" clId="Web-{F50BF285-6E19-8147-7A90-2F27F7E17D8D}" dt="2022-08-12T15:28:57.999" v="97"/>
        <pc:sldMkLst>
          <pc:docMk/>
          <pc:sldMk cId="3433158677" sldId="2005"/>
        </pc:sldMkLst>
      </pc:sldChg>
      <pc:sldChg chg="add del mod modShow modNotes">
        <pc:chgData name="Nathan Boothe" userId="S::naboothe@microsoft.com::4c7fa73f-7f07-4ebc-8e24-b897c561fa3d" providerId="AD" clId="Web-{F50BF285-6E19-8147-7A90-2F27F7E17D8D}" dt="2022-08-12T15:27:33.512" v="91"/>
        <pc:sldMkLst>
          <pc:docMk/>
          <pc:sldMk cId="4061991580" sldId="2015"/>
        </pc:sldMkLst>
      </pc:sldChg>
      <pc:sldChg chg="add del mod modShow modNotes">
        <pc:chgData name="Nathan Boothe" userId="S::naboothe@microsoft.com::4c7fa73f-7f07-4ebc-8e24-b897c561fa3d" providerId="AD" clId="Web-{F50BF285-6E19-8147-7A90-2F27F7E17D8D}" dt="2022-08-12T15:27:14.277" v="87"/>
        <pc:sldMkLst>
          <pc:docMk/>
          <pc:sldMk cId="3105429849" sldId="2016"/>
        </pc:sldMkLst>
      </pc:sldChg>
      <pc:sldChg chg="add del mod modShow modNotes">
        <pc:chgData name="Nathan Boothe" userId="S::naboothe@microsoft.com::4c7fa73f-7f07-4ebc-8e24-b897c561fa3d" providerId="AD" clId="Web-{F50BF285-6E19-8147-7A90-2F27F7E17D8D}" dt="2022-08-12T15:27:12.339" v="86"/>
        <pc:sldMkLst>
          <pc:docMk/>
          <pc:sldMk cId="3289401503" sldId="2017"/>
        </pc:sldMkLst>
      </pc:sldChg>
    </pc:docChg>
  </pc:docChgLst>
  <pc:docChgLst>
    <pc:chgData name="Alison Yeh" userId="86d98d7c-5861-42c0-9426-3e74a9b3ea79" providerId="ADAL" clId="{2BB6D9E1-D878-413C-B21F-0C883349030D}"/>
    <pc:docChg chg="modSld">
      <pc:chgData name="Alison Yeh" userId="86d98d7c-5861-42c0-9426-3e74a9b3ea79" providerId="ADAL" clId="{2BB6D9E1-D878-413C-B21F-0C883349030D}" dt="2020-11-05T07:08:02.477" v="125" actId="20577"/>
      <pc:docMkLst>
        <pc:docMk/>
      </pc:docMkLst>
      <pc:sldChg chg="modSp mod">
        <pc:chgData name="Alison Yeh" userId="86d98d7c-5861-42c0-9426-3e74a9b3ea79" providerId="ADAL" clId="{2BB6D9E1-D878-413C-B21F-0C883349030D}" dt="2020-11-05T07:03:08.883" v="1" actId="20577"/>
        <pc:sldMkLst>
          <pc:docMk/>
          <pc:sldMk cId="2355728576" sldId="278"/>
        </pc:sldMkLst>
        <pc:spChg chg="mod">
          <ac:chgData name="Alison Yeh" userId="86d98d7c-5861-42c0-9426-3e74a9b3ea79" providerId="ADAL" clId="{2BB6D9E1-D878-413C-B21F-0C883349030D}" dt="2020-11-05T07:03:08.883" v="1" actId="20577"/>
          <ac:spMkLst>
            <pc:docMk/>
            <pc:sldMk cId="2355728576" sldId="278"/>
            <ac:spMk id="3" creationId="{4C7B2818-D4B6-49AF-BC6D-48A87C308A7A}"/>
          </ac:spMkLst>
        </pc:spChg>
      </pc:sldChg>
      <pc:sldChg chg="modSp mod">
        <pc:chgData name="Alison Yeh" userId="86d98d7c-5861-42c0-9426-3e74a9b3ea79" providerId="ADAL" clId="{2BB6D9E1-D878-413C-B21F-0C883349030D}" dt="2020-11-05T07:08:02.477" v="125" actId="20577"/>
        <pc:sldMkLst>
          <pc:docMk/>
          <pc:sldMk cId="3550844832" sldId="283"/>
        </pc:sldMkLst>
        <pc:spChg chg="mod">
          <ac:chgData name="Alison Yeh" userId="86d98d7c-5861-42c0-9426-3e74a9b3ea79" providerId="ADAL" clId="{2BB6D9E1-D878-413C-B21F-0C883349030D}" dt="2020-11-05T07:08:02.477" v="125" actId="20577"/>
          <ac:spMkLst>
            <pc:docMk/>
            <pc:sldMk cId="3550844832" sldId="283"/>
            <ac:spMk id="3" creationId="{33236595-CAC9-445D-9666-E8C18A3531A2}"/>
          </ac:spMkLst>
        </pc:spChg>
      </pc:sldChg>
      <pc:sldChg chg="modSp mod">
        <pc:chgData name="Alison Yeh" userId="86d98d7c-5861-42c0-9426-3e74a9b3ea79" providerId="ADAL" clId="{2BB6D9E1-D878-413C-B21F-0C883349030D}" dt="2020-11-05T07:03:03.870" v="0" actId="20577"/>
        <pc:sldMkLst>
          <pc:docMk/>
          <pc:sldMk cId="2707495431" sldId="307"/>
        </pc:sldMkLst>
        <pc:spChg chg="mod">
          <ac:chgData name="Alison Yeh" userId="86d98d7c-5861-42c0-9426-3e74a9b3ea79" providerId="ADAL" clId="{2BB6D9E1-D878-413C-B21F-0C883349030D}" dt="2020-11-05T07:03:03.870" v="0" actId="20577"/>
          <ac:spMkLst>
            <pc:docMk/>
            <pc:sldMk cId="2707495431" sldId="307"/>
            <ac:spMk id="17" creationId="{977E58EE-870A-41BD-84B1-6CB592992463}"/>
          </ac:spMkLst>
        </pc:spChg>
      </pc:sldChg>
      <pc:sldChg chg="modSp mod">
        <pc:chgData name="Alison Yeh" userId="86d98d7c-5861-42c0-9426-3e74a9b3ea79" providerId="ADAL" clId="{2BB6D9E1-D878-413C-B21F-0C883349030D}" dt="2020-11-05T07:03:35.925" v="7" actId="20577"/>
        <pc:sldMkLst>
          <pc:docMk/>
          <pc:sldMk cId="2310307256" sldId="355"/>
        </pc:sldMkLst>
        <pc:spChg chg="mod">
          <ac:chgData name="Alison Yeh" userId="86d98d7c-5861-42c0-9426-3e74a9b3ea79" providerId="ADAL" clId="{2BB6D9E1-D878-413C-B21F-0C883349030D}" dt="2020-11-05T07:03:31.778" v="6" actId="20577"/>
          <ac:spMkLst>
            <pc:docMk/>
            <pc:sldMk cId="2310307256" sldId="355"/>
            <ac:spMk id="17" creationId="{00000000-0000-0000-0000-000000000000}"/>
          </ac:spMkLst>
        </pc:spChg>
        <pc:spChg chg="mod">
          <ac:chgData name="Alison Yeh" userId="86d98d7c-5861-42c0-9426-3e74a9b3ea79" providerId="ADAL" clId="{2BB6D9E1-D878-413C-B21F-0C883349030D}" dt="2020-11-05T07:03:30.206" v="5" actId="20577"/>
          <ac:spMkLst>
            <pc:docMk/>
            <pc:sldMk cId="2310307256" sldId="355"/>
            <ac:spMk id="20" creationId="{00000000-0000-0000-0000-000000000000}"/>
          </ac:spMkLst>
        </pc:spChg>
        <pc:spChg chg="mod">
          <ac:chgData name="Alison Yeh" userId="86d98d7c-5861-42c0-9426-3e74a9b3ea79" providerId="ADAL" clId="{2BB6D9E1-D878-413C-B21F-0C883349030D}" dt="2020-11-05T07:03:28.625" v="4" actId="20577"/>
          <ac:spMkLst>
            <pc:docMk/>
            <pc:sldMk cId="2310307256" sldId="355"/>
            <ac:spMk id="23" creationId="{00000000-0000-0000-0000-000000000000}"/>
          </ac:spMkLst>
        </pc:spChg>
        <pc:spChg chg="mod">
          <ac:chgData name="Alison Yeh" userId="86d98d7c-5861-42c0-9426-3e74a9b3ea79" providerId="ADAL" clId="{2BB6D9E1-D878-413C-B21F-0C883349030D}" dt="2020-11-05T07:03:35.925" v="7" actId="20577"/>
          <ac:spMkLst>
            <pc:docMk/>
            <pc:sldMk cId="2310307256" sldId="355"/>
            <ac:spMk id="26" creationId="{00000000-0000-0000-0000-000000000000}"/>
          </ac:spMkLst>
        </pc:spChg>
      </pc:sldChg>
      <pc:sldChg chg="modSp mod">
        <pc:chgData name="Alison Yeh" userId="86d98d7c-5861-42c0-9426-3e74a9b3ea79" providerId="ADAL" clId="{2BB6D9E1-D878-413C-B21F-0C883349030D}" dt="2020-11-05T07:07:53.672" v="124" actId="20577"/>
        <pc:sldMkLst>
          <pc:docMk/>
          <pc:sldMk cId="1323131104" sldId="423"/>
        </pc:sldMkLst>
        <pc:spChg chg="mod">
          <ac:chgData name="Alison Yeh" userId="86d98d7c-5861-42c0-9426-3e74a9b3ea79" providerId="ADAL" clId="{2BB6D9E1-D878-413C-B21F-0C883349030D}" dt="2020-11-05T07:07:53.672" v="124" actId="20577"/>
          <ac:spMkLst>
            <pc:docMk/>
            <pc:sldMk cId="1323131104" sldId="423"/>
            <ac:spMk id="10" creationId="{57D0DEBB-4EAB-411C-BF3B-19B442A31C0D}"/>
          </ac:spMkLst>
        </pc:spChg>
      </pc:sldChg>
      <pc:sldChg chg="modSp mod">
        <pc:chgData name="Alison Yeh" userId="86d98d7c-5861-42c0-9426-3e74a9b3ea79" providerId="ADAL" clId="{2BB6D9E1-D878-413C-B21F-0C883349030D}" dt="2020-11-05T07:07:05.162" v="73" actId="20577"/>
        <pc:sldMkLst>
          <pc:docMk/>
          <pc:sldMk cId="2363988451" sldId="1975"/>
        </pc:sldMkLst>
        <pc:spChg chg="mod">
          <ac:chgData name="Alison Yeh" userId="86d98d7c-5861-42c0-9426-3e74a9b3ea79" providerId="ADAL" clId="{2BB6D9E1-D878-413C-B21F-0C883349030D}" dt="2020-11-05T07:07:02.574" v="71" actId="20577"/>
          <ac:spMkLst>
            <pc:docMk/>
            <pc:sldMk cId="2363988451" sldId="1975"/>
            <ac:spMk id="4" creationId="{CFC532B9-1692-43B5-938B-BB438AC5343F}"/>
          </ac:spMkLst>
        </pc:spChg>
        <pc:spChg chg="mod">
          <ac:chgData name="Alison Yeh" userId="86d98d7c-5861-42c0-9426-3e74a9b3ea79" providerId="ADAL" clId="{2BB6D9E1-D878-413C-B21F-0C883349030D}" dt="2020-11-05T07:07:05.162" v="73" actId="20577"/>
          <ac:spMkLst>
            <pc:docMk/>
            <pc:sldMk cId="2363988451" sldId="1975"/>
            <ac:spMk id="5" creationId="{E6DD22F5-FCD1-4626-9B8E-858520FA2A89}"/>
          </ac:spMkLst>
        </pc:spChg>
      </pc:sldChg>
      <pc:sldChg chg="modSp mod">
        <pc:chgData name="Alison Yeh" userId="86d98d7c-5861-42c0-9426-3e74a9b3ea79" providerId="ADAL" clId="{2BB6D9E1-D878-413C-B21F-0C883349030D}" dt="2020-11-05T07:06:40.221" v="62" actId="20577"/>
        <pc:sldMkLst>
          <pc:docMk/>
          <pc:sldMk cId="3571336088" sldId="1991"/>
        </pc:sldMkLst>
        <pc:spChg chg="mod">
          <ac:chgData name="Alison Yeh" userId="86d98d7c-5861-42c0-9426-3e74a9b3ea79" providerId="ADAL" clId="{2BB6D9E1-D878-413C-B21F-0C883349030D}" dt="2020-11-05T07:06:40.221" v="62" actId="20577"/>
          <ac:spMkLst>
            <pc:docMk/>
            <pc:sldMk cId="3571336088" sldId="1991"/>
            <ac:spMk id="7" creationId="{90ACB90D-992B-4408-B3ED-15C194BD74A4}"/>
          </ac:spMkLst>
        </pc:spChg>
      </pc:sldChg>
      <pc:sldChg chg="modSp mod">
        <pc:chgData name="Alison Yeh" userId="86d98d7c-5861-42c0-9426-3e74a9b3ea79" providerId="ADAL" clId="{2BB6D9E1-D878-413C-B21F-0C883349030D}" dt="2020-11-05T07:03:21.370" v="3" actId="20577"/>
        <pc:sldMkLst>
          <pc:docMk/>
          <pc:sldMk cId="829854860" sldId="1994"/>
        </pc:sldMkLst>
        <pc:spChg chg="mod">
          <ac:chgData name="Alison Yeh" userId="86d98d7c-5861-42c0-9426-3e74a9b3ea79" providerId="ADAL" clId="{2BB6D9E1-D878-413C-B21F-0C883349030D}" dt="2020-11-05T07:03:21.370" v="3" actId="20577"/>
          <ac:spMkLst>
            <pc:docMk/>
            <pc:sldMk cId="829854860" sldId="1994"/>
            <ac:spMk id="2" creationId="{4B90FCF2-EECD-430D-9A80-C888748FFCE6}"/>
          </ac:spMkLst>
        </pc:spChg>
      </pc:sldChg>
      <pc:sldChg chg="modSp mod">
        <pc:chgData name="Alison Yeh" userId="86d98d7c-5861-42c0-9426-3e74a9b3ea79" providerId="ADAL" clId="{2BB6D9E1-D878-413C-B21F-0C883349030D}" dt="2020-11-05T07:06:02.163" v="17" actId="20577"/>
        <pc:sldMkLst>
          <pc:docMk/>
          <pc:sldMk cId="2875695618" sldId="1996"/>
        </pc:sldMkLst>
        <pc:spChg chg="mod">
          <ac:chgData name="Alison Yeh" userId="86d98d7c-5861-42c0-9426-3e74a9b3ea79" providerId="ADAL" clId="{2BB6D9E1-D878-413C-B21F-0C883349030D}" dt="2020-11-05T07:06:02.163" v="17" actId="20577"/>
          <ac:spMkLst>
            <pc:docMk/>
            <pc:sldMk cId="2875695618" sldId="1996"/>
            <ac:spMk id="2" creationId="{82E1F057-4164-4917-9DC7-1568A4EDC3E7}"/>
          </ac:spMkLst>
        </pc:spChg>
      </pc:sldChg>
      <pc:sldChg chg="modSp mod">
        <pc:chgData name="Alison Yeh" userId="86d98d7c-5861-42c0-9426-3e74a9b3ea79" providerId="ADAL" clId="{2BB6D9E1-D878-413C-B21F-0C883349030D}" dt="2020-11-05T07:06:08.538" v="18" actId="20577"/>
        <pc:sldMkLst>
          <pc:docMk/>
          <pc:sldMk cId="3612004523" sldId="1997"/>
        </pc:sldMkLst>
        <pc:spChg chg="mod">
          <ac:chgData name="Alison Yeh" userId="86d98d7c-5861-42c0-9426-3e74a9b3ea79" providerId="ADAL" clId="{2BB6D9E1-D878-413C-B21F-0C883349030D}" dt="2020-11-05T07:06:08.538" v="18" actId="20577"/>
          <ac:spMkLst>
            <pc:docMk/>
            <pc:sldMk cId="3612004523" sldId="1997"/>
            <ac:spMk id="2" creationId="{82E1F057-4164-4917-9DC7-1568A4EDC3E7}"/>
          </ac:spMkLst>
        </pc:spChg>
      </pc:sldChg>
      <pc:sldChg chg="modSp mod modNotesTx">
        <pc:chgData name="Alison Yeh" userId="86d98d7c-5861-42c0-9426-3e74a9b3ea79" providerId="ADAL" clId="{2BB6D9E1-D878-413C-B21F-0C883349030D}" dt="2020-11-05T07:06:53.698" v="68" actId="20577"/>
        <pc:sldMkLst>
          <pc:docMk/>
          <pc:sldMk cId="1491234068" sldId="1999"/>
        </pc:sldMkLst>
        <pc:spChg chg="mod">
          <ac:chgData name="Alison Yeh" userId="86d98d7c-5861-42c0-9426-3e74a9b3ea79" providerId="ADAL" clId="{2BB6D9E1-D878-413C-B21F-0C883349030D}" dt="2020-11-05T07:06:46.007" v="63" actId="20577"/>
          <ac:spMkLst>
            <pc:docMk/>
            <pc:sldMk cId="1491234068" sldId="1999"/>
            <ac:spMk id="4" creationId="{125E8924-C304-4247-9EF9-F3D3E5B136BE}"/>
          </ac:spMkLst>
        </pc:spChg>
      </pc:sldChg>
      <pc:sldChg chg="modSp mod modNotesTx">
        <pc:chgData name="Alison Yeh" userId="86d98d7c-5861-42c0-9426-3e74a9b3ea79" providerId="ADAL" clId="{2BB6D9E1-D878-413C-B21F-0C883349030D}" dt="2020-11-05T07:07:00.209" v="70" actId="20577"/>
        <pc:sldMkLst>
          <pc:docMk/>
          <pc:sldMk cId="3816319392" sldId="2000"/>
        </pc:sldMkLst>
        <pc:spChg chg="mod">
          <ac:chgData name="Alison Yeh" userId="86d98d7c-5861-42c0-9426-3e74a9b3ea79" providerId="ADAL" clId="{2BB6D9E1-D878-413C-B21F-0C883349030D}" dt="2020-11-05T07:06:57.267" v="69" actId="20577"/>
          <ac:spMkLst>
            <pc:docMk/>
            <pc:sldMk cId="3816319392" sldId="2000"/>
            <ac:spMk id="9" creationId="{CFA559AD-4C6A-43CC-BEFA-3713581D3866}"/>
          </ac:spMkLst>
        </pc:spChg>
      </pc:sldChg>
      <pc:sldChg chg="modNotesTx">
        <pc:chgData name="Alison Yeh" userId="86d98d7c-5861-42c0-9426-3e74a9b3ea79" providerId="ADAL" clId="{2BB6D9E1-D878-413C-B21F-0C883349030D}" dt="2020-11-05T07:07:14.898" v="76" actId="20577"/>
        <pc:sldMkLst>
          <pc:docMk/>
          <pc:sldMk cId="989663208" sldId="2002"/>
        </pc:sldMkLst>
      </pc:sldChg>
      <pc:sldChg chg="modSp mod">
        <pc:chgData name="Alison Yeh" userId="86d98d7c-5861-42c0-9426-3e74a9b3ea79" providerId="ADAL" clId="{2BB6D9E1-D878-413C-B21F-0C883349030D}" dt="2020-11-05T07:03:17.061" v="2" actId="20577"/>
        <pc:sldMkLst>
          <pc:docMk/>
          <pc:sldMk cId="3433158677" sldId="2005"/>
        </pc:sldMkLst>
        <pc:spChg chg="mod">
          <ac:chgData name="Alison Yeh" userId="86d98d7c-5861-42c0-9426-3e74a9b3ea79" providerId="ADAL" clId="{2BB6D9E1-D878-413C-B21F-0C883349030D}" dt="2020-11-05T07:03:17.061" v="2" actId="20577"/>
          <ac:spMkLst>
            <pc:docMk/>
            <pc:sldMk cId="3433158677" sldId="2005"/>
            <ac:spMk id="5" creationId="{1F868EAD-30D3-4785-878C-0C4B13F2E5EA}"/>
          </ac:spMkLst>
        </pc:spChg>
      </pc:sldChg>
      <pc:sldChg chg="modSp mod">
        <pc:chgData name="Alison Yeh" userId="86d98d7c-5861-42c0-9426-3e74a9b3ea79" providerId="ADAL" clId="{2BB6D9E1-D878-413C-B21F-0C883349030D}" dt="2020-11-05T07:05:58.069" v="16" actId="20577"/>
        <pc:sldMkLst>
          <pc:docMk/>
          <pc:sldMk cId="4108220385" sldId="2012"/>
        </pc:sldMkLst>
        <pc:spChg chg="mod">
          <ac:chgData name="Alison Yeh" userId="86d98d7c-5861-42c0-9426-3e74a9b3ea79" providerId="ADAL" clId="{2BB6D9E1-D878-413C-B21F-0C883349030D}" dt="2020-11-05T07:05:45.661" v="11" actId="207"/>
          <ac:spMkLst>
            <pc:docMk/>
            <pc:sldMk cId="4108220385" sldId="2012"/>
            <ac:spMk id="3" creationId="{8ADA5948-1913-463F-8CC4-C9CB6AD671F0}"/>
          </ac:spMkLst>
        </pc:spChg>
        <pc:spChg chg="mod">
          <ac:chgData name="Alison Yeh" userId="86d98d7c-5861-42c0-9426-3e74a9b3ea79" providerId="ADAL" clId="{2BB6D9E1-D878-413C-B21F-0C883349030D}" dt="2020-11-05T07:05:58.069" v="16" actId="20577"/>
          <ac:spMkLst>
            <pc:docMk/>
            <pc:sldMk cId="4108220385" sldId="2012"/>
            <ac:spMk id="6" creationId="{D0951595-B4E9-4648-9AD7-C6783C266DA9}"/>
          </ac:spMkLst>
        </pc:spChg>
      </pc:sldChg>
    </pc:docChg>
  </pc:docChgLst>
  <pc:docChgLst>
    <pc:chgData name="Christopher Weaver" userId="2d47d5c7-389a-4b91-8fc5-dfad12ad20c7" providerId="ADAL" clId="{36E53F1F-9E53-411A-AEE2-19E57835CC06}"/>
    <pc:docChg chg="addSld modSld">
      <pc:chgData name="Christopher Weaver" userId="2d47d5c7-389a-4b91-8fc5-dfad12ad20c7" providerId="ADAL" clId="{36E53F1F-9E53-411A-AEE2-19E57835CC06}" dt="2021-09-15T16:40:22.476" v="36" actId="20577"/>
      <pc:docMkLst>
        <pc:docMk/>
      </pc:docMkLst>
      <pc:sldChg chg="modSp new mod">
        <pc:chgData name="Christopher Weaver" userId="2d47d5c7-389a-4b91-8fc5-dfad12ad20c7" providerId="ADAL" clId="{36E53F1F-9E53-411A-AEE2-19E57835CC06}" dt="2021-09-15T16:40:22.476" v="36" actId="20577"/>
        <pc:sldMkLst>
          <pc:docMk/>
          <pc:sldMk cId="497597664" sldId="2023"/>
        </pc:sldMkLst>
        <pc:spChg chg="mod">
          <ac:chgData name="Christopher Weaver" userId="2d47d5c7-389a-4b91-8fc5-dfad12ad20c7" providerId="ADAL" clId="{36E53F1F-9E53-411A-AEE2-19E57835CC06}" dt="2021-09-15T16:40:22.476" v="36" actId="20577"/>
          <ac:spMkLst>
            <pc:docMk/>
            <pc:sldMk cId="497597664" sldId="2023"/>
            <ac:spMk id="2" creationId="{08EACF75-F605-4D7C-91D9-6BF469817EE7}"/>
          </ac:spMkLst>
        </pc:spChg>
      </pc:sldChg>
    </pc:docChg>
  </pc:docChgLst>
  <pc:docChgLst>
    <pc:chgData name="Christopher Weaver" userId="2d47d5c7-389a-4b91-8fc5-dfad12ad20c7" providerId="ADAL" clId="{09CC0C0B-958F-445E-9D40-96C56F394758}"/>
    <pc:docChg chg="undo custSel addSld delSld modSld sldOrd">
      <pc:chgData name="Christopher Weaver" userId="2d47d5c7-389a-4b91-8fc5-dfad12ad20c7" providerId="ADAL" clId="{09CC0C0B-958F-445E-9D40-96C56F394758}" dt="2019-05-08T14:51:22.382" v="1383"/>
      <pc:docMkLst>
        <pc:docMk/>
      </pc:docMkLst>
      <pc:sldChg chg="modSp">
        <pc:chgData name="Christopher Weaver" userId="2d47d5c7-389a-4b91-8fc5-dfad12ad20c7" providerId="ADAL" clId="{09CC0C0B-958F-445E-9D40-96C56F394758}" dt="2019-05-03T18:10:27.972" v="943" actId="20577"/>
        <pc:sldMkLst>
          <pc:docMk/>
          <pc:sldMk cId="1325058836" sldId="256"/>
        </pc:sldMkLst>
        <pc:spChg chg="mod">
          <ac:chgData name="Christopher Weaver" userId="2d47d5c7-389a-4b91-8fc5-dfad12ad20c7" providerId="ADAL" clId="{09CC0C0B-958F-445E-9D40-96C56F394758}" dt="2019-05-03T18:10:27.972" v="943" actId="20577"/>
          <ac:spMkLst>
            <pc:docMk/>
            <pc:sldMk cId="1325058836" sldId="256"/>
            <ac:spMk id="6" creationId="{00000000-0000-0000-0000-000000000000}"/>
          </ac:spMkLst>
        </pc:spChg>
      </pc:sldChg>
      <pc:sldChg chg="modSp modNotesTx">
        <pc:chgData name="Christopher Weaver" userId="2d47d5c7-389a-4b91-8fc5-dfad12ad20c7" providerId="ADAL" clId="{09CC0C0B-958F-445E-9D40-96C56F394758}" dt="2019-05-07T19:12:30.636" v="1230" actId="20577"/>
        <pc:sldMkLst>
          <pc:docMk/>
          <pc:sldMk cId="4186606887" sldId="262"/>
        </pc:sldMkLst>
        <pc:spChg chg="mod">
          <ac:chgData name="Christopher Weaver" userId="2d47d5c7-389a-4b91-8fc5-dfad12ad20c7" providerId="ADAL" clId="{09CC0C0B-958F-445E-9D40-96C56F394758}" dt="2019-05-03T16:55:46.029" v="155" actId="1076"/>
          <ac:spMkLst>
            <pc:docMk/>
            <pc:sldMk cId="4186606887" sldId="262"/>
            <ac:spMk id="2" creationId="{00000000-0000-0000-0000-000000000000}"/>
          </ac:spMkLst>
        </pc:spChg>
        <pc:spChg chg="mod">
          <ac:chgData name="Christopher Weaver" userId="2d47d5c7-389a-4b91-8fc5-dfad12ad20c7" providerId="ADAL" clId="{09CC0C0B-958F-445E-9D40-96C56F394758}" dt="2019-05-07T19:12:30.636" v="1230" actId="20577"/>
          <ac:spMkLst>
            <pc:docMk/>
            <pc:sldMk cId="4186606887" sldId="262"/>
            <ac:spMk id="4" creationId="{125E8924-C304-4247-9EF9-F3D3E5B136BE}"/>
          </ac:spMkLst>
        </pc:spChg>
        <pc:spChg chg="mod">
          <ac:chgData name="Christopher Weaver" userId="2d47d5c7-389a-4b91-8fc5-dfad12ad20c7" providerId="ADAL" clId="{09CC0C0B-958F-445E-9D40-96C56F394758}" dt="2019-05-03T16:55:39.267" v="154" actId="1076"/>
          <ac:spMkLst>
            <pc:docMk/>
            <pc:sldMk cId="4186606887" sldId="262"/>
            <ac:spMk id="21" creationId="{00000000-0000-0000-0000-000000000000}"/>
          </ac:spMkLst>
        </pc:spChg>
        <pc:spChg chg="mod">
          <ac:chgData name="Christopher Weaver" userId="2d47d5c7-389a-4b91-8fc5-dfad12ad20c7" providerId="ADAL" clId="{09CC0C0B-958F-445E-9D40-96C56F394758}" dt="2019-05-03T16:55:50.504" v="156" actId="1076"/>
          <ac:spMkLst>
            <pc:docMk/>
            <pc:sldMk cId="4186606887" sldId="262"/>
            <ac:spMk id="24" creationId="{00000000-0000-0000-0000-000000000000}"/>
          </ac:spMkLst>
        </pc:spChg>
        <pc:spChg chg="mod">
          <ac:chgData name="Christopher Weaver" userId="2d47d5c7-389a-4b91-8fc5-dfad12ad20c7" providerId="ADAL" clId="{09CC0C0B-958F-445E-9D40-96C56F394758}" dt="2019-05-03T16:55:53.730" v="157" actId="1076"/>
          <ac:spMkLst>
            <pc:docMk/>
            <pc:sldMk cId="4186606887" sldId="262"/>
            <ac:spMk id="27" creationId="{00000000-0000-0000-0000-000000000000}"/>
          </ac:spMkLst>
        </pc:spChg>
      </pc:sldChg>
      <pc:sldChg chg="modSp">
        <pc:chgData name="Christopher Weaver" userId="2d47d5c7-389a-4b91-8fc5-dfad12ad20c7" providerId="ADAL" clId="{09CC0C0B-958F-445E-9D40-96C56F394758}" dt="2019-05-08T14:40:12.728" v="1377" actId="20577"/>
        <pc:sldMkLst>
          <pc:docMk/>
          <pc:sldMk cId="2355728576" sldId="278"/>
        </pc:sldMkLst>
        <pc:spChg chg="mod">
          <ac:chgData name="Christopher Weaver" userId="2d47d5c7-389a-4b91-8fc5-dfad12ad20c7" providerId="ADAL" clId="{09CC0C0B-958F-445E-9D40-96C56F394758}" dt="2019-05-08T14:40:12.728" v="1377" actId="20577"/>
          <ac:spMkLst>
            <pc:docMk/>
            <pc:sldMk cId="2355728576" sldId="278"/>
            <ac:spMk id="3" creationId="{4C7B2818-D4B6-49AF-BC6D-48A87C308A7A}"/>
          </ac:spMkLst>
        </pc:spChg>
      </pc:sldChg>
      <pc:sldChg chg="add del modTransition">
        <pc:chgData name="Christopher Weaver" userId="2d47d5c7-389a-4b91-8fc5-dfad12ad20c7" providerId="ADAL" clId="{09CC0C0B-958F-445E-9D40-96C56F394758}" dt="2019-05-07T19:12:39.869" v="1233"/>
        <pc:sldMkLst>
          <pc:docMk/>
          <pc:sldMk cId="4152765703" sldId="279"/>
        </pc:sldMkLst>
      </pc:sldChg>
      <pc:sldChg chg="modSp modAnim">
        <pc:chgData name="Christopher Weaver" userId="2d47d5c7-389a-4b91-8fc5-dfad12ad20c7" providerId="ADAL" clId="{09CC0C0B-958F-445E-9D40-96C56F394758}" dt="2019-05-03T17:21:34.218" v="848" actId="20577"/>
        <pc:sldMkLst>
          <pc:docMk/>
          <pc:sldMk cId="1147957374" sldId="282"/>
        </pc:sldMkLst>
        <pc:spChg chg="mod">
          <ac:chgData name="Christopher Weaver" userId="2d47d5c7-389a-4b91-8fc5-dfad12ad20c7" providerId="ADAL" clId="{09CC0C0B-958F-445E-9D40-96C56F394758}" dt="2019-05-03T17:21:34.218" v="848" actId="20577"/>
          <ac:spMkLst>
            <pc:docMk/>
            <pc:sldMk cId="1147957374" sldId="282"/>
            <ac:spMk id="3" creationId="{065DB3F3-B1C0-4A47-B824-7B6D35D60263}"/>
          </ac:spMkLst>
        </pc:spChg>
      </pc:sldChg>
      <pc:sldChg chg="modSp">
        <pc:chgData name="Christopher Weaver" userId="2d47d5c7-389a-4b91-8fc5-dfad12ad20c7" providerId="ADAL" clId="{09CC0C0B-958F-445E-9D40-96C56F394758}" dt="2019-05-08T14:43:12.638" v="1382" actId="20577"/>
        <pc:sldMkLst>
          <pc:docMk/>
          <pc:sldMk cId="3550844832" sldId="283"/>
        </pc:sldMkLst>
        <pc:spChg chg="mod">
          <ac:chgData name="Christopher Weaver" userId="2d47d5c7-389a-4b91-8fc5-dfad12ad20c7" providerId="ADAL" clId="{09CC0C0B-958F-445E-9D40-96C56F394758}" dt="2019-05-08T14:43:12.638" v="1382" actId="20577"/>
          <ac:spMkLst>
            <pc:docMk/>
            <pc:sldMk cId="3550844832" sldId="283"/>
            <ac:spMk id="3" creationId="{33236595-CAC9-445D-9666-E8C18A3531A2}"/>
          </ac:spMkLst>
        </pc:spChg>
      </pc:sldChg>
      <pc:sldChg chg="add del modTransition">
        <pc:chgData name="Christopher Weaver" userId="2d47d5c7-389a-4b91-8fc5-dfad12ad20c7" providerId="ADAL" clId="{09CC0C0B-958F-445E-9D40-96C56F394758}" dt="2019-05-07T19:12:44.302" v="1234"/>
        <pc:sldMkLst>
          <pc:docMk/>
          <pc:sldMk cId="2332363192" sldId="285"/>
        </pc:sldMkLst>
      </pc:sldChg>
      <pc:sldChg chg="modSp">
        <pc:chgData name="Christopher Weaver" userId="2d47d5c7-389a-4b91-8fc5-dfad12ad20c7" providerId="ADAL" clId="{09CC0C0B-958F-445E-9D40-96C56F394758}" dt="2019-05-07T19:12:24.975" v="1217" actId="20577"/>
        <pc:sldMkLst>
          <pc:docMk/>
          <pc:sldMk cId="3525975785" sldId="382"/>
        </pc:sldMkLst>
        <pc:spChg chg="mod">
          <ac:chgData name="Christopher Weaver" userId="2d47d5c7-389a-4b91-8fc5-dfad12ad20c7" providerId="ADAL" clId="{09CC0C0B-958F-445E-9D40-96C56F394758}" dt="2019-05-07T19:12:24.975" v="1217" actId="20577"/>
          <ac:spMkLst>
            <pc:docMk/>
            <pc:sldMk cId="3525975785" sldId="382"/>
            <ac:spMk id="2" creationId="{00000000-0000-0000-0000-000000000000}"/>
          </ac:spMkLst>
        </pc:spChg>
      </pc:sldChg>
      <pc:sldChg chg="delSp modSp ord modNotesTx">
        <pc:chgData name="Christopher Weaver" userId="2d47d5c7-389a-4b91-8fc5-dfad12ad20c7" providerId="ADAL" clId="{09CC0C0B-958F-445E-9D40-96C56F394758}" dt="2019-05-07T19:12:29.867" v="1228" actId="20577"/>
        <pc:sldMkLst>
          <pc:docMk/>
          <pc:sldMk cId="2750993272" sldId="399"/>
        </pc:sldMkLst>
        <pc:spChg chg="del mod">
          <ac:chgData name="Christopher Weaver" userId="2d47d5c7-389a-4b91-8fc5-dfad12ad20c7" providerId="ADAL" clId="{09CC0C0B-958F-445E-9D40-96C56F394758}" dt="2019-05-03T17:00:44.398" v="249" actId="478"/>
          <ac:spMkLst>
            <pc:docMk/>
            <pc:sldMk cId="2750993272" sldId="399"/>
            <ac:spMk id="2" creationId="{00000000-0000-0000-0000-000000000000}"/>
          </ac:spMkLst>
        </pc:spChg>
        <pc:spChg chg="mod">
          <ac:chgData name="Christopher Weaver" userId="2d47d5c7-389a-4b91-8fc5-dfad12ad20c7" providerId="ADAL" clId="{09CC0C0B-958F-445E-9D40-96C56F394758}" dt="2019-05-07T19:12:29.867" v="1228" actId="20577"/>
          <ac:spMkLst>
            <pc:docMk/>
            <pc:sldMk cId="2750993272" sldId="399"/>
            <ac:spMk id="9" creationId="{CFA559AD-4C6A-43CC-BEFA-3713581D3866}"/>
          </ac:spMkLst>
        </pc:spChg>
        <pc:picChg chg="mod">
          <ac:chgData name="Christopher Weaver" userId="2d47d5c7-389a-4b91-8fc5-dfad12ad20c7" providerId="ADAL" clId="{09CC0C0B-958F-445E-9D40-96C56F394758}" dt="2019-05-03T17:00:58.255" v="252" actId="1076"/>
          <ac:picMkLst>
            <pc:docMk/>
            <pc:sldMk cId="2750993272" sldId="399"/>
            <ac:picMk id="4" creationId="{00000000-0000-0000-0000-000000000000}"/>
          </ac:picMkLst>
        </pc:picChg>
      </pc:sldChg>
      <pc:sldChg chg="modSp">
        <pc:chgData name="Christopher Weaver" userId="2d47d5c7-389a-4b91-8fc5-dfad12ad20c7" providerId="ADAL" clId="{09CC0C0B-958F-445E-9D40-96C56F394758}" dt="2019-05-07T19:12:25.970" v="1219" actId="20577"/>
        <pc:sldMkLst>
          <pc:docMk/>
          <pc:sldMk cId="3716265243" sldId="1966"/>
        </pc:sldMkLst>
        <pc:spChg chg="mod">
          <ac:chgData name="Christopher Weaver" userId="2d47d5c7-389a-4b91-8fc5-dfad12ad20c7" providerId="ADAL" clId="{09CC0C0B-958F-445E-9D40-96C56F394758}" dt="2019-05-07T19:12:25.970" v="1219" actId="20577"/>
          <ac:spMkLst>
            <pc:docMk/>
            <pc:sldMk cId="3716265243" sldId="1966"/>
            <ac:spMk id="2" creationId="{C962C15F-95E3-481D-A0CF-AE6555E28DA2}"/>
          </ac:spMkLst>
        </pc:spChg>
      </pc:sldChg>
      <pc:sldChg chg="modSp modNotesTx">
        <pc:chgData name="Christopher Weaver" userId="2d47d5c7-389a-4b91-8fc5-dfad12ad20c7" providerId="ADAL" clId="{09CC0C0B-958F-445E-9D40-96C56F394758}" dt="2019-05-07T19:12:25.169" v="1218" actId="20577"/>
        <pc:sldMkLst>
          <pc:docMk/>
          <pc:sldMk cId="12318851" sldId="1967"/>
        </pc:sldMkLst>
        <pc:spChg chg="mod">
          <ac:chgData name="Christopher Weaver" userId="2d47d5c7-389a-4b91-8fc5-dfad12ad20c7" providerId="ADAL" clId="{09CC0C0B-958F-445E-9D40-96C56F394758}" dt="2019-05-07T19:12:25.169" v="1218" actId="20577"/>
          <ac:spMkLst>
            <pc:docMk/>
            <pc:sldMk cId="12318851" sldId="1967"/>
            <ac:spMk id="2" creationId="{4CFEDFCF-D6E0-4C86-94E6-A5411E3F1AF5}"/>
          </ac:spMkLst>
        </pc:spChg>
      </pc:sldChg>
      <pc:sldChg chg="delSp modSp del modNotesTx">
        <pc:chgData name="Christopher Weaver" userId="2d47d5c7-389a-4b91-8fc5-dfad12ad20c7" providerId="ADAL" clId="{09CC0C0B-958F-445E-9D40-96C56F394758}" dt="2019-05-08T14:39:48.488" v="1369" actId="2696"/>
        <pc:sldMkLst>
          <pc:docMk/>
          <pc:sldMk cId="3708063927" sldId="1969"/>
        </pc:sldMkLst>
        <pc:spChg chg="del mod">
          <ac:chgData name="Christopher Weaver" userId="2d47d5c7-389a-4b91-8fc5-dfad12ad20c7" providerId="ADAL" clId="{09CC0C0B-958F-445E-9D40-96C56F394758}" dt="2019-05-03T17:15:47.280" v="697" actId="478"/>
          <ac:spMkLst>
            <pc:docMk/>
            <pc:sldMk cId="3708063927" sldId="1969"/>
            <ac:spMk id="2" creationId="{82B20489-C56F-47B9-849F-80F70A687D03}"/>
          </ac:spMkLst>
        </pc:spChg>
        <pc:picChg chg="mod">
          <ac:chgData name="Christopher Weaver" userId="2d47d5c7-389a-4b91-8fc5-dfad12ad20c7" providerId="ADAL" clId="{09CC0C0B-958F-445E-9D40-96C56F394758}" dt="2019-05-03T17:15:58.256" v="700" actId="1076"/>
          <ac:picMkLst>
            <pc:docMk/>
            <pc:sldMk cId="3708063927" sldId="1969"/>
            <ac:picMk id="5" creationId="{EC75A14C-8C4C-48C0-B694-6758E562F28A}"/>
          </ac:picMkLst>
        </pc:picChg>
      </pc:sldChg>
      <pc:sldChg chg="ord">
        <pc:chgData name="Christopher Weaver" userId="2d47d5c7-389a-4b91-8fc5-dfad12ad20c7" providerId="ADAL" clId="{09CC0C0B-958F-445E-9D40-96C56F394758}" dt="2019-05-08T14:51:22.382" v="1383"/>
        <pc:sldMkLst>
          <pc:docMk/>
          <pc:sldMk cId="2363988451" sldId="1975"/>
        </pc:sldMkLst>
      </pc:sldChg>
      <pc:sldChg chg="add del modTransition">
        <pc:chgData name="Christopher Weaver" userId="2d47d5c7-389a-4b91-8fc5-dfad12ad20c7" providerId="ADAL" clId="{09CC0C0B-958F-445E-9D40-96C56F394758}" dt="2019-05-08T14:39:48.511" v="1372" actId="2696"/>
        <pc:sldMkLst>
          <pc:docMk/>
          <pc:sldMk cId="3887381667" sldId="1981"/>
        </pc:sldMkLst>
      </pc:sldChg>
      <pc:sldChg chg="ord modTransition">
        <pc:chgData name="Christopher Weaver" userId="2d47d5c7-389a-4b91-8fc5-dfad12ad20c7" providerId="ADAL" clId="{09CC0C0B-958F-445E-9D40-96C56F394758}" dt="2019-05-08T14:38:24.007" v="1367"/>
        <pc:sldMkLst>
          <pc:docMk/>
          <pc:sldMk cId="2258079420" sldId="1982"/>
        </pc:sldMkLst>
      </pc:sldChg>
      <pc:sldChg chg="del ord modNotesTx">
        <pc:chgData name="Christopher Weaver" userId="2d47d5c7-389a-4b91-8fc5-dfad12ad20c7" providerId="ADAL" clId="{09CC0C0B-958F-445E-9D40-96C56F394758}" dt="2019-05-08T14:39:48.504" v="1371" actId="2696"/>
        <pc:sldMkLst>
          <pc:docMk/>
          <pc:sldMk cId="1744669286" sldId="1988"/>
        </pc:sldMkLst>
      </pc:sldChg>
      <pc:sldChg chg="del ord modNotesTx">
        <pc:chgData name="Christopher Weaver" userId="2d47d5c7-389a-4b91-8fc5-dfad12ad20c7" providerId="ADAL" clId="{09CC0C0B-958F-445E-9D40-96C56F394758}" dt="2019-05-08T14:39:48.488" v="1370" actId="2696"/>
        <pc:sldMkLst>
          <pc:docMk/>
          <pc:sldMk cId="656109927" sldId="1989"/>
        </pc:sldMkLst>
      </pc:sldChg>
      <pc:sldChg chg="addSp delSp modSp add del">
        <pc:chgData name="Christopher Weaver" userId="2d47d5c7-389a-4b91-8fc5-dfad12ad20c7" providerId="ADAL" clId="{09CC0C0B-958F-445E-9D40-96C56F394758}" dt="2019-05-08T14:39:48.488" v="1368" actId="2696"/>
        <pc:sldMkLst>
          <pc:docMk/>
          <pc:sldMk cId="1535519951" sldId="1991"/>
        </pc:sldMkLst>
        <pc:spChg chg="del">
          <ac:chgData name="Christopher Weaver" userId="2d47d5c7-389a-4b91-8fc5-dfad12ad20c7" providerId="ADAL" clId="{09CC0C0B-958F-445E-9D40-96C56F394758}" dt="2019-05-04T03:01:20.635" v="945"/>
          <ac:spMkLst>
            <pc:docMk/>
            <pc:sldMk cId="1535519951" sldId="1991"/>
            <ac:spMk id="2" creationId="{94A955A4-89B4-481C-8283-36059F0B0F6D}"/>
          </ac:spMkLst>
        </pc:spChg>
        <pc:spChg chg="del">
          <ac:chgData name="Christopher Weaver" userId="2d47d5c7-389a-4b91-8fc5-dfad12ad20c7" providerId="ADAL" clId="{09CC0C0B-958F-445E-9D40-96C56F394758}" dt="2019-05-04T03:01:20.635" v="945"/>
          <ac:spMkLst>
            <pc:docMk/>
            <pc:sldMk cId="1535519951" sldId="1991"/>
            <ac:spMk id="3" creationId="{D5DD1C0D-21EC-46E2-8D55-DF84C5B3540C}"/>
          </ac:spMkLst>
        </pc:spChg>
        <pc:spChg chg="add mod">
          <ac:chgData name="Christopher Weaver" userId="2d47d5c7-389a-4b91-8fc5-dfad12ad20c7" providerId="ADAL" clId="{09CC0C0B-958F-445E-9D40-96C56F394758}" dt="2019-05-04T03:02:57.655" v="1004" actId="20577"/>
          <ac:spMkLst>
            <pc:docMk/>
            <pc:sldMk cId="1535519951" sldId="1991"/>
            <ac:spMk id="4" creationId="{12D8DE96-0708-4A7F-9C9B-9D0A5B378080}"/>
          </ac:spMkLst>
        </pc:spChg>
        <pc:spChg chg="add mod">
          <ac:chgData name="Christopher Weaver" userId="2d47d5c7-389a-4b91-8fc5-dfad12ad20c7" providerId="ADAL" clId="{09CC0C0B-958F-445E-9D40-96C56F394758}" dt="2019-05-04T03:03:58.369" v="1116" actId="20577"/>
          <ac:spMkLst>
            <pc:docMk/>
            <pc:sldMk cId="1535519951" sldId="1991"/>
            <ac:spMk id="5" creationId="{1F868EAD-30D3-4785-878C-0C4B13F2E5EA}"/>
          </ac:spMkLst>
        </pc:spChg>
      </pc:sldChg>
    </pc:docChg>
  </pc:docChgLst>
  <pc:docChgLst>
    <pc:chgData name="Rishabh Mathur" userId="S::rimathur@microsoft.com::085a90ad-ff62-452d-9cc6-fb668aecc57d" providerId="AD" clId="Web-{3D9E1DF7-BF82-01D1-E4C3-4D1F7375EF89}"/>
    <pc:docChg chg="addSld delSld modSld">
      <pc:chgData name="Rishabh Mathur" userId="S::rimathur@microsoft.com::085a90ad-ff62-452d-9cc6-fb668aecc57d" providerId="AD" clId="Web-{3D9E1DF7-BF82-01D1-E4C3-4D1F7375EF89}" dt="2022-04-26T21:28:03.950" v="98" actId="20577"/>
      <pc:docMkLst>
        <pc:docMk/>
      </pc:docMkLst>
      <pc:sldChg chg="modSp">
        <pc:chgData name="Rishabh Mathur" userId="S::rimathur@microsoft.com::085a90ad-ff62-452d-9cc6-fb668aecc57d" providerId="AD" clId="Web-{3D9E1DF7-BF82-01D1-E4C3-4D1F7375EF89}" dt="2022-04-26T20:02:26.649" v="37" actId="20577"/>
        <pc:sldMkLst>
          <pc:docMk/>
          <pc:sldMk cId="2355728576" sldId="278"/>
        </pc:sldMkLst>
        <pc:spChg chg="mod">
          <ac:chgData name="Rishabh Mathur" userId="S::rimathur@microsoft.com::085a90ad-ff62-452d-9cc6-fb668aecc57d" providerId="AD" clId="Web-{3D9E1DF7-BF82-01D1-E4C3-4D1F7375EF89}" dt="2022-04-26T20:02:26.649" v="37" actId="20577"/>
          <ac:spMkLst>
            <pc:docMk/>
            <pc:sldMk cId="2355728576" sldId="278"/>
            <ac:spMk id="3" creationId="{4C7B2818-D4B6-49AF-BC6D-48A87C308A7A}"/>
          </ac:spMkLst>
        </pc:spChg>
      </pc:sldChg>
      <pc:sldChg chg="modSp">
        <pc:chgData name="Rishabh Mathur" userId="S::rimathur@microsoft.com::085a90ad-ff62-452d-9cc6-fb668aecc57d" providerId="AD" clId="Web-{3D9E1DF7-BF82-01D1-E4C3-4D1F7375EF89}" dt="2022-04-26T21:28:03.950" v="98" actId="20577"/>
        <pc:sldMkLst>
          <pc:docMk/>
          <pc:sldMk cId="3550844832" sldId="283"/>
        </pc:sldMkLst>
        <pc:spChg chg="mod">
          <ac:chgData name="Rishabh Mathur" userId="S::rimathur@microsoft.com::085a90ad-ff62-452d-9cc6-fb668aecc57d" providerId="AD" clId="Web-{3D9E1DF7-BF82-01D1-E4C3-4D1F7375EF89}" dt="2022-04-26T21:28:03.950" v="98" actId="20577"/>
          <ac:spMkLst>
            <pc:docMk/>
            <pc:sldMk cId="3550844832" sldId="283"/>
            <ac:spMk id="3" creationId="{33236595-CAC9-445D-9666-E8C18A3531A2}"/>
          </ac:spMkLst>
        </pc:spChg>
      </pc:sldChg>
      <pc:sldChg chg="modNotes">
        <pc:chgData name="Rishabh Mathur" userId="S::rimathur@microsoft.com::085a90ad-ff62-452d-9cc6-fb668aecc57d" providerId="AD" clId="Web-{3D9E1DF7-BF82-01D1-E4C3-4D1F7375EF89}" dt="2022-04-26T19:50:50.677" v="7"/>
        <pc:sldMkLst>
          <pc:docMk/>
          <pc:sldMk cId="2707495431" sldId="307"/>
        </pc:sldMkLst>
      </pc:sldChg>
      <pc:sldChg chg="addSp delSp modSp">
        <pc:chgData name="Rishabh Mathur" userId="S::rimathur@microsoft.com::085a90ad-ff62-452d-9cc6-fb668aecc57d" providerId="AD" clId="Web-{3D9E1DF7-BF82-01D1-E4C3-4D1F7375EF89}" dt="2022-04-26T19:51:35.757" v="14"/>
        <pc:sldMkLst>
          <pc:docMk/>
          <pc:sldMk cId="2310307256" sldId="355"/>
        </pc:sldMkLst>
        <pc:picChg chg="add del mod">
          <ac:chgData name="Rishabh Mathur" userId="S::rimathur@microsoft.com::085a90ad-ff62-452d-9cc6-fb668aecc57d" providerId="AD" clId="Web-{3D9E1DF7-BF82-01D1-E4C3-4D1F7375EF89}" dt="2022-04-26T19:51:14.397" v="10"/>
          <ac:picMkLst>
            <pc:docMk/>
            <pc:sldMk cId="2310307256" sldId="355"/>
            <ac:picMk id="3" creationId="{070794CB-B71E-7485-CA56-23AB3B4CAEB2}"/>
          </ac:picMkLst>
        </pc:picChg>
        <pc:picChg chg="add del mod">
          <ac:chgData name="Rishabh Mathur" userId="S::rimathur@microsoft.com::085a90ad-ff62-452d-9cc6-fb668aecc57d" providerId="AD" clId="Web-{3D9E1DF7-BF82-01D1-E4C3-4D1F7375EF89}" dt="2022-04-26T19:51:35.757" v="14"/>
          <ac:picMkLst>
            <pc:docMk/>
            <pc:sldMk cId="2310307256" sldId="355"/>
            <ac:picMk id="8" creationId="{5BDECF29-FC80-4F09-B8E7-1FC52F8D7DB4}"/>
          </ac:picMkLst>
        </pc:picChg>
      </pc:sldChg>
      <pc:sldChg chg="modSp">
        <pc:chgData name="Rishabh Mathur" userId="S::rimathur@microsoft.com::085a90ad-ff62-452d-9cc6-fb668aecc57d" providerId="AD" clId="Web-{3D9E1DF7-BF82-01D1-E4C3-4D1F7375EF89}" dt="2022-04-26T21:25:31.613" v="77" actId="20577"/>
        <pc:sldMkLst>
          <pc:docMk/>
          <pc:sldMk cId="2363988451" sldId="1975"/>
        </pc:sldMkLst>
        <pc:spChg chg="mod">
          <ac:chgData name="Rishabh Mathur" userId="S::rimathur@microsoft.com::085a90ad-ff62-452d-9cc6-fb668aecc57d" providerId="AD" clId="Web-{3D9E1DF7-BF82-01D1-E4C3-4D1F7375EF89}" dt="2022-04-26T21:25:31.613" v="77" actId="20577"/>
          <ac:spMkLst>
            <pc:docMk/>
            <pc:sldMk cId="2363988451" sldId="1975"/>
            <ac:spMk id="5" creationId="{E6DD22F5-FCD1-4626-9B8E-858520FA2A89}"/>
          </ac:spMkLst>
        </pc:spChg>
      </pc:sldChg>
      <pc:sldChg chg="modSp">
        <pc:chgData name="Rishabh Mathur" userId="S::rimathur@microsoft.com::085a90ad-ff62-452d-9cc6-fb668aecc57d" providerId="AD" clId="Web-{3D9E1DF7-BF82-01D1-E4C3-4D1F7375EF89}" dt="2022-04-26T20:04:09.901" v="42" actId="20577"/>
        <pc:sldMkLst>
          <pc:docMk/>
          <pc:sldMk cId="4009327331" sldId="1998"/>
        </pc:sldMkLst>
        <pc:spChg chg="mod">
          <ac:chgData name="Rishabh Mathur" userId="S::rimathur@microsoft.com::085a90ad-ff62-452d-9cc6-fb668aecc57d" providerId="AD" clId="Web-{3D9E1DF7-BF82-01D1-E4C3-4D1F7375EF89}" dt="2022-04-26T20:04:09.901" v="42" actId="20577"/>
          <ac:spMkLst>
            <pc:docMk/>
            <pc:sldMk cId="4009327331" sldId="1998"/>
            <ac:spMk id="4" creationId="{71073A0A-3C23-47F8-B093-E6BFF8C7D470}"/>
          </ac:spMkLst>
        </pc:spChg>
      </pc:sldChg>
      <pc:sldChg chg="addSp delSp modSp del mod modClrScheme chgLayout modNotes">
        <pc:chgData name="Rishabh Mathur" userId="S::rimathur@microsoft.com::085a90ad-ff62-452d-9cc6-fb668aecc57d" providerId="AD" clId="Web-{3D9E1DF7-BF82-01D1-E4C3-4D1F7375EF89}" dt="2022-04-26T21:24:55.642" v="70"/>
        <pc:sldMkLst>
          <pc:docMk/>
          <pc:sldMk cId="3816319392" sldId="2000"/>
        </pc:sldMkLst>
        <pc:spChg chg="mod">
          <ac:chgData name="Rishabh Mathur" userId="S::rimathur@microsoft.com::085a90ad-ff62-452d-9cc6-fb668aecc57d" providerId="AD" clId="Web-{3D9E1DF7-BF82-01D1-E4C3-4D1F7375EF89}" dt="2022-04-26T20:50:16.679" v="45"/>
          <ac:spMkLst>
            <pc:docMk/>
            <pc:sldMk cId="3816319392" sldId="2000"/>
            <ac:spMk id="9" creationId="{CFA559AD-4C6A-43CC-BEFA-3713581D3866}"/>
          </ac:spMkLst>
        </pc:spChg>
        <pc:picChg chg="add mod">
          <ac:chgData name="Rishabh Mathur" userId="S::rimathur@microsoft.com::085a90ad-ff62-452d-9cc6-fb668aecc57d" providerId="AD" clId="Web-{3D9E1DF7-BF82-01D1-E4C3-4D1F7375EF89}" dt="2022-04-26T20:50:16.679" v="45"/>
          <ac:picMkLst>
            <pc:docMk/>
            <pc:sldMk cId="3816319392" sldId="2000"/>
            <ac:picMk id="2" creationId="{1690923A-D915-C8E5-5BBA-72C09AC0DD30}"/>
          </ac:picMkLst>
        </pc:picChg>
        <pc:picChg chg="del">
          <ac:chgData name="Rishabh Mathur" userId="S::rimathur@microsoft.com::085a90ad-ff62-452d-9cc6-fb668aecc57d" providerId="AD" clId="Web-{3D9E1DF7-BF82-01D1-E4C3-4D1F7375EF89}" dt="2022-04-26T20:50:09.491" v="43"/>
          <ac:picMkLst>
            <pc:docMk/>
            <pc:sldMk cId="3816319392" sldId="2000"/>
            <ac:picMk id="3" creationId="{CF03CF04-474B-4E7D-AB5C-A8B15AC59B12}"/>
          </ac:picMkLst>
        </pc:picChg>
      </pc:sldChg>
      <pc:sldChg chg="modNotes">
        <pc:chgData name="Rishabh Mathur" userId="S::rimathur@microsoft.com::085a90ad-ff62-452d-9cc6-fb668aecc57d" providerId="AD" clId="Web-{3D9E1DF7-BF82-01D1-E4C3-4D1F7375EF89}" dt="2022-04-26T20:01:15.100" v="19"/>
        <pc:sldMkLst>
          <pc:docMk/>
          <pc:sldMk cId="608112121" sldId="2010"/>
        </pc:sldMkLst>
      </pc:sldChg>
      <pc:sldChg chg="delCm">
        <pc:chgData name="Rishabh Mathur" userId="S::rimathur@microsoft.com::085a90ad-ff62-452d-9cc6-fb668aecc57d" providerId="AD" clId="Web-{3D9E1DF7-BF82-01D1-E4C3-4D1F7375EF89}" dt="2022-04-26T21:27:33.089" v="78"/>
        <pc:sldMkLst>
          <pc:docMk/>
          <pc:sldMk cId="497597664" sldId="2023"/>
        </pc:sldMkLst>
      </pc:sldChg>
      <pc:sldChg chg="add">
        <pc:chgData name="Rishabh Mathur" userId="S::rimathur@microsoft.com::085a90ad-ff62-452d-9cc6-fb668aecc57d" providerId="AD" clId="Web-{3D9E1DF7-BF82-01D1-E4C3-4D1F7375EF89}" dt="2022-04-26T21:24:32.843" v="69"/>
        <pc:sldMkLst>
          <pc:docMk/>
          <pc:sldMk cId="3888829198" sldId="2024"/>
        </pc:sldMkLst>
      </pc:sldChg>
    </pc:docChg>
  </pc:docChgLst>
  <pc:docChgLst>
    <pc:chgData name="Christopher Weaver" userId="2d47d5c7-389a-4b91-8fc5-dfad12ad20c7" providerId="ADAL" clId="{A852B73B-055D-47E9-9816-B5D44BBCE14E}"/>
    <pc:docChg chg="undo custSel mod addSld modSld">
      <pc:chgData name="Christopher Weaver" userId="2d47d5c7-389a-4b91-8fc5-dfad12ad20c7" providerId="ADAL" clId="{A852B73B-055D-47E9-9816-B5D44BBCE14E}" dt="2020-01-23T14:37:12.341" v="1701" actId="14100"/>
      <pc:docMkLst>
        <pc:docMk/>
      </pc:docMkLst>
      <pc:sldChg chg="modTransition">
        <pc:chgData name="Christopher Weaver" userId="2d47d5c7-389a-4b91-8fc5-dfad12ad20c7" providerId="ADAL" clId="{A852B73B-055D-47E9-9816-B5D44BBCE14E}" dt="2020-01-22T20:02:47.381" v="0"/>
        <pc:sldMkLst>
          <pc:docMk/>
          <pc:sldMk cId="1831265177" sldId="1990"/>
        </pc:sldMkLst>
      </pc:sldChg>
      <pc:sldChg chg="addSp delSp modSp add modNotesTx">
        <pc:chgData name="Christopher Weaver" userId="2d47d5c7-389a-4b91-8fc5-dfad12ad20c7" providerId="ADAL" clId="{A852B73B-055D-47E9-9816-B5D44BBCE14E}" dt="2020-01-23T14:37:12.341" v="1701" actId="14100"/>
        <pc:sldMkLst>
          <pc:docMk/>
          <pc:sldMk cId="4176708396" sldId="1992"/>
        </pc:sldMkLst>
        <pc:spChg chg="mod">
          <ac:chgData name="Christopher Weaver" userId="2d47d5c7-389a-4b91-8fc5-dfad12ad20c7" providerId="ADAL" clId="{A852B73B-055D-47E9-9816-B5D44BBCE14E}" dt="2020-01-22T20:03:00.274" v="20" actId="20577"/>
          <ac:spMkLst>
            <pc:docMk/>
            <pc:sldMk cId="4176708396" sldId="1992"/>
            <ac:spMk id="2" creationId="{FD4564B3-4214-411D-AB49-1DC6330F8B6E}"/>
          </ac:spMkLst>
        </pc:spChg>
        <pc:spChg chg="del mod">
          <ac:chgData name="Christopher Weaver" userId="2d47d5c7-389a-4b91-8fc5-dfad12ad20c7" providerId="ADAL" clId="{A852B73B-055D-47E9-9816-B5D44BBCE14E}" dt="2020-01-22T20:08:29.620" v="24" actId="478"/>
          <ac:spMkLst>
            <pc:docMk/>
            <pc:sldMk cId="4176708396" sldId="1992"/>
            <ac:spMk id="3" creationId="{C41A9F69-6C6F-4D74-81EA-6621DBF65F97}"/>
          </ac:spMkLst>
        </pc:spChg>
        <pc:graphicFrameChg chg="add mod modGraphic">
          <ac:chgData name="Christopher Weaver" userId="2d47d5c7-389a-4b91-8fc5-dfad12ad20c7" providerId="ADAL" clId="{A852B73B-055D-47E9-9816-B5D44BBCE14E}" dt="2020-01-23T14:37:12.341" v="1701" actId="14100"/>
          <ac:graphicFrameMkLst>
            <pc:docMk/>
            <pc:sldMk cId="4176708396" sldId="1992"/>
            <ac:graphicFrameMk id="4" creationId="{835F9FC1-23CB-4E48-8B76-6DB844DCF039}"/>
          </ac:graphicFrameMkLst>
        </pc:graphicFrameChg>
      </pc:sldChg>
      <pc:sldChg chg="addSp delSp modSp add mod setBg modClrScheme chgLayout modNotesTx">
        <pc:chgData name="Christopher Weaver" userId="2d47d5c7-389a-4b91-8fc5-dfad12ad20c7" providerId="ADAL" clId="{A852B73B-055D-47E9-9816-B5D44BBCE14E}" dt="2020-01-23T14:36:24.530" v="1698" actId="20577"/>
        <pc:sldMkLst>
          <pc:docMk/>
          <pc:sldMk cId="1675654522" sldId="1993"/>
        </pc:sldMkLst>
        <pc:spChg chg="mod">
          <ac:chgData name="Christopher Weaver" userId="2d47d5c7-389a-4b91-8fc5-dfad12ad20c7" providerId="ADAL" clId="{A852B73B-055D-47E9-9816-B5D44BBCE14E}" dt="2020-01-22T21:03:49.659" v="1613" actId="26606"/>
          <ac:spMkLst>
            <pc:docMk/>
            <pc:sldMk cId="1675654522" sldId="1993"/>
            <ac:spMk id="2" creationId="{C412911D-CE3F-4DB3-847D-31A13A2A1E57}"/>
          </ac:spMkLst>
        </pc:spChg>
        <pc:spChg chg="add del mod">
          <ac:chgData name="Christopher Weaver" userId="2d47d5c7-389a-4b91-8fc5-dfad12ad20c7" providerId="ADAL" clId="{A852B73B-055D-47E9-9816-B5D44BBCE14E}" dt="2020-01-22T21:03:49.659" v="1613" actId="26606"/>
          <ac:spMkLst>
            <pc:docMk/>
            <pc:sldMk cId="1675654522" sldId="1993"/>
            <ac:spMk id="3" creationId="{96B814D3-3D76-4068-AFCB-81AA06DF9FFC}"/>
          </ac:spMkLst>
        </pc:spChg>
        <pc:graphicFrameChg chg="add del">
          <ac:chgData name="Christopher Weaver" userId="2d47d5c7-389a-4b91-8fc5-dfad12ad20c7" providerId="ADAL" clId="{A852B73B-055D-47E9-9816-B5D44BBCE14E}" dt="2020-01-22T21:03:44.779" v="1610" actId="26606"/>
          <ac:graphicFrameMkLst>
            <pc:docMk/>
            <pc:sldMk cId="1675654522" sldId="1993"/>
            <ac:graphicFrameMk id="5" creationId="{F1C5261F-5610-429F-B98F-361492BA7A23}"/>
          </ac:graphicFrameMkLst>
        </pc:graphicFrameChg>
        <pc:graphicFrameChg chg="add del">
          <ac:chgData name="Christopher Weaver" userId="2d47d5c7-389a-4b91-8fc5-dfad12ad20c7" providerId="ADAL" clId="{A852B73B-055D-47E9-9816-B5D44BBCE14E}" dt="2020-01-22T21:03:49.593" v="1612" actId="26606"/>
          <ac:graphicFrameMkLst>
            <pc:docMk/>
            <pc:sldMk cId="1675654522" sldId="1993"/>
            <ac:graphicFrameMk id="7" creationId="{21560FCF-0CC5-4CC8-907D-2BFD37E1BA7F}"/>
          </ac:graphicFrameMkLst>
        </pc:graphicFrameChg>
        <pc:graphicFrameChg chg="add mod">
          <ac:chgData name="Christopher Weaver" userId="2d47d5c7-389a-4b91-8fc5-dfad12ad20c7" providerId="ADAL" clId="{A852B73B-055D-47E9-9816-B5D44BBCE14E}" dt="2020-01-23T14:36:24.530" v="1698" actId="20577"/>
          <ac:graphicFrameMkLst>
            <pc:docMk/>
            <pc:sldMk cId="1675654522" sldId="1993"/>
            <ac:graphicFrameMk id="9" creationId="{F1C5261F-5610-429F-B98F-361492BA7A23}"/>
          </ac:graphicFrameMkLst>
        </pc:graphicFrameChg>
      </pc:sldChg>
    </pc:docChg>
  </pc:docChgLst>
  <pc:docChgLst>
    <pc:chgData name="Rishabh Mathur" userId="085a90ad-ff62-452d-9cc6-fb668aecc57d" providerId="ADAL" clId="{0BD0D9A8-9701-4538-8C3B-6AFFD99AA2C6}"/>
    <pc:docChg chg="custSel modSld">
      <pc:chgData name="Rishabh Mathur" userId="085a90ad-ff62-452d-9cc6-fb668aecc57d" providerId="ADAL" clId="{0BD0D9A8-9701-4538-8C3B-6AFFD99AA2C6}" dt="2020-03-03T03:09:37.072" v="54" actId="20577"/>
      <pc:docMkLst>
        <pc:docMk/>
      </pc:docMkLst>
      <pc:sldChg chg="modSp mod">
        <pc:chgData name="Rishabh Mathur" userId="085a90ad-ff62-452d-9cc6-fb668aecc57d" providerId="ADAL" clId="{0BD0D9A8-9701-4538-8C3B-6AFFD99AA2C6}" dt="2020-03-03T03:09:37.072" v="54" actId="20577"/>
        <pc:sldMkLst>
          <pc:docMk/>
          <pc:sldMk cId="1325058836" sldId="256"/>
        </pc:sldMkLst>
        <pc:spChg chg="mod">
          <ac:chgData name="Rishabh Mathur" userId="085a90ad-ff62-452d-9cc6-fb668aecc57d" providerId="ADAL" clId="{0BD0D9A8-9701-4538-8C3B-6AFFD99AA2C6}" dt="2020-03-03T03:09:37.072" v="54" actId="20577"/>
          <ac:spMkLst>
            <pc:docMk/>
            <pc:sldMk cId="1325058836" sldId="256"/>
            <ac:spMk id="6" creationId="{00000000-0000-0000-0000-000000000000}"/>
          </ac:spMkLst>
        </pc:spChg>
      </pc:sldChg>
    </pc:docChg>
  </pc:docChgLst>
  <pc:docChgLst>
    <pc:chgData name="Ki'Yona McClary" userId="S::kmcclary@microsoft.com::492bc8e0-e31d-42f8-9b7a-81eef03d1dc4" providerId="AD" clId="Web-{4D0CB19F-2080-0000-D58B-04609C94D30C}"/>
    <pc:docChg chg="modSld">
      <pc:chgData name="Ki'Yona McClary" userId="S::kmcclary@microsoft.com::492bc8e0-e31d-42f8-9b7a-81eef03d1dc4" providerId="AD" clId="Web-{4D0CB19F-2080-0000-D58B-04609C94D30C}" dt="2021-03-04T18:57:01.838" v="33" actId="20577"/>
      <pc:docMkLst>
        <pc:docMk/>
      </pc:docMkLst>
      <pc:sldChg chg="addSp modSp">
        <pc:chgData name="Ki'Yona McClary" userId="S::kmcclary@microsoft.com::492bc8e0-e31d-42f8-9b7a-81eef03d1dc4" providerId="AD" clId="Web-{4D0CB19F-2080-0000-D58B-04609C94D30C}" dt="2021-03-04T18:57:01.838" v="33" actId="20577"/>
        <pc:sldMkLst>
          <pc:docMk/>
          <pc:sldMk cId="3612004523" sldId="1997"/>
        </pc:sldMkLst>
        <pc:spChg chg="mod">
          <ac:chgData name="Ki'Yona McClary" userId="S::kmcclary@microsoft.com::492bc8e0-e31d-42f8-9b7a-81eef03d1dc4" providerId="AD" clId="Web-{4D0CB19F-2080-0000-D58B-04609C94D30C}" dt="2021-03-04T18:56:47.962" v="25" actId="20577"/>
          <ac:spMkLst>
            <pc:docMk/>
            <pc:sldMk cId="3612004523" sldId="1997"/>
            <ac:spMk id="9" creationId="{9E1766E7-7E89-4069-BD5F-5C6AE8594A41}"/>
          </ac:spMkLst>
        </pc:spChg>
        <pc:spChg chg="mod">
          <ac:chgData name="Ki'Yona McClary" userId="S::kmcclary@microsoft.com::492bc8e0-e31d-42f8-9b7a-81eef03d1dc4" providerId="AD" clId="Web-{4D0CB19F-2080-0000-D58B-04609C94D30C}" dt="2021-03-04T18:56:44.587" v="23" actId="20577"/>
          <ac:spMkLst>
            <pc:docMk/>
            <pc:sldMk cId="3612004523" sldId="1997"/>
            <ac:spMk id="11" creationId="{40A9B32F-4DA3-46C4-BF17-4B830039FE44}"/>
          </ac:spMkLst>
        </pc:spChg>
        <pc:spChg chg="mod">
          <ac:chgData name="Ki'Yona McClary" userId="S::kmcclary@microsoft.com::492bc8e0-e31d-42f8-9b7a-81eef03d1dc4" providerId="AD" clId="Web-{4D0CB19F-2080-0000-D58B-04609C94D30C}" dt="2021-03-04T18:57:01.838" v="33" actId="20577"/>
          <ac:spMkLst>
            <pc:docMk/>
            <pc:sldMk cId="3612004523" sldId="1997"/>
            <ac:spMk id="13" creationId="{2B126222-A210-4A1E-9A5E-F21CF76814D6}"/>
          </ac:spMkLst>
        </pc:spChg>
        <pc:spChg chg="add mod">
          <ac:chgData name="Ki'Yona McClary" userId="S::kmcclary@microsoft.com::492bc8e0-e31d-42f8-9b7a-81eef03d1dc4" providerId="AD" clId="Web-{4D0CB19F-2080-0000-D58B-04609C94D30C}" dt="2021-03-04T18:56:37.446" v="22" actId="20577"/>
          <ac:spMkLst>
            <pc:docMk/>
            <pc:sldMk cId="3612004523" sldId="1997"/>
            <ac:spMk id="15" creationId="{E7F010F8-2ADB-4E62-BECF-FB5BCB150C12}"/>
          </ac:spMkLst>
        </pc:spChg>
        <pc:cxnChg chg="add mod">
          <ac:chgData name="Ki'Yona McClary" userId="S::kmcclary@microsoft.com::492bc8e0-e31d-42f8-9b7a-81eef03d1dc4" providerId="AD" clId="Web-{4D0CB19F-2080-0000-D58B-04609C94D30C}" dt="2021-03-04T18:55:39.898" v="1" actId="1076"/>
          <ac:cxnSpMkLst>
            <pc:docMk/>
            <pc:sldMk cId="3612004523" sldId="1997"/>
            <ac:cxnSpMk id="14" creationId="{2BE5649A-DFCC-4F4E-8093-1279AA2BC252}"/>
          </ac:cxnSpMkLst>
        </pc:cxnChg>
      </pc:sldChg>
    </pc:docChg>
  </pc:docChgLst>
  <pc:docChgLst>
    <pc:chgData name="Christopher Weaver" userId="S::christwe@microsoft.com::2d47d5c7-389a-4b91-8fc5-dfad12ad20c7" providerId="AD" clId="Web-{AC9027C8-153B-5B71-BB2B-0FCDAE5CA038}"/>
    <pc:docChg chg="modSld">
      <pc:chgData name="Christopher Weaver" userId="S::christwe@microsoft.com::2d47d5c7-389a-4b91-8fc5-dfad12ad20c7" providerId="AD" clId="Web-{AC9027C8-153B-5B71-BB2B-0FCDAE5CA038}" dt="2021-10-12T19:21:50.915" v="2"/>
      <pc:docMkLst>
        <pc:docMk/>
      </pc:docMkLst>
      <pc:sldChg chg="addCm modNotes">
        <pc:chgData name="Christopher Weaver" userId="S::christwe@microsoft.com::2d47d5c7-389a-4b91-8fc5-dfad12ad20c7" providerId="AD" clId="Web-{AC9027C8-153B-5B71-BB2B-0FCDAE5CA038}" dt="2021-10-12T19:21:50.915" v="2"/>
        <pc:sldMkLst>
          <pc:docMk/>
          <pc:sldMk cId="497597664" sldId="2023"/>
        </pc:sldMkLst>
      </pc:sldChg>
    </pc:docChg>
  </pc:docChgLst>
  <pc:docChgLst>
    <pc:chgData name="Christopher Weaver" userId="2d47d5c7-389a-4b91-8fc5-dfad12ad20c7" providerId="ADAL" clId="{9252E0BC-53A9-4A9B-B924-E8C5CA9BC271}"/>
    <pc:docChg chg="modSld">
      <pc:chgData name="Christopher Weaver" userId="2d47d5c7-389a-4b91-8fc5-dfad12ad20c7" providerId="ADAL" clId="{9252E0BC-53A9-4A9B-B924-E8C5CA9BC271}" dt="2020-02-21T21:10:57.960" v="95" actId="20577"/>
      <pc:docMkLst>
        <pc:docMk/>
      </pc:docMkLst>
      <pc:sldChg chg="modSp">
        <pc:chgData name="Christopher Weaver" userId="2d47d5c7-389a-4b91-8fc5-dfad12ad20c7" providerId="ADAL" clId="{9252E0BC-53A9-4A9B-B924-E8C5CA9BC271}" dt="2020-02-21T21:10:57.960" v="95" actId="20577"/>
        <pc:sldMkLst>
          <pc:docMk/>
          <pc:sldMk cId="1325058836" sldId="256"/>
        </pc:sldMkLst>
        <pc:spChg chg="mod">
          <ac:chgData name="Christopher Weaver" userId="2d47d5c7-389a-4b91-8fc5-dfad12ad20c7" providerId="ADAL" clId="{9252E0BC-53A9-4A9B-B924-E8C5CA9BC271}" dt="2020-02-21T21:10:57.960" v="95" actId="20577"/>
          <ac:spMkLst>
            <pc:docMk/>
            <pc:sldMk cId="1325058836" sldId="256"/>
            <ac:spMk id="6" creationId="{00000000-0000-0000-0000-000000000000}"/>
          </ac:spMkLst>
        </pc:spChg>
      </pc:sldChg>
    </pc:docChg>
  </pc:docChgLst>
  <pc:docChgLst>
    <pc:chgData name="Christopher Weaver" userId="2d47d5c7-389a-4b91-8fc5-dfad12ad20c7" providerId="ADAL" clId="{49736F4C-E420-4B3F-9845-0B050AF5F406}"/>
    <pc:docChg chg="custSel modSld">
      <pc:chgData name="Christopher Weaver" userId="2d47d5c7-389a-4b91-8fc5-dfad12ad20c7" providerId="ADAL" clId="{49736F4C-E420-4B3F-9845-0B050AF5F406}" dt="2020-06-25T14:01:22.192" v="12" actId="478"/>
      <pc:docMkLst>
        <pc:docMk/>
      </pc:docMkLst>
      <pc:sldChg chg="delSp mod">
        <pc:chgData name="Christopher Weaver" userId="2d47d5c7-389a-4b91-8fc5-dfad12ad20c7" providerId="ADAL" clId="{49736F4C-E420-4B3F-9845-0B050AF5F406}" dt="2020-06-25T13:58:00.018" v="0" actId="478"/>
        <pc:sldMkLst>
          <pc:docMk/>
          <pc:sldMk cId="829854860" sldId="1994"/>
        </pc:sldMkLst>
        <pc:spChg chg="del">
          <ac:chgData name="Christopher Weaver" userId="2d47d5c7-389a-4b91-8fc5-dfad12ad20c7" providerId="ADAL" clId="{49736F4C-E420-4B3F-9845-0B050AF5F406}" dt="2020-06-25T13:58:00.018" v="0" actId="478"/>
          <ac:spMkLst>
            <pc:docMk/>
            <pc:sldMk cId="829854860" sldId="1994"/>
            <ac:spMk id="3" creationId="{B366DBEB-39FC-41F7-ABA7-643FBB5AFCC2}"/>
          </ac:spMkLst>
        </pc:spChg>
      </pc:sldChg>
      <pc:sldChg chg="delSp mod addCm delCm modCm">
        <pc:chgData name="Christopher Weaver" userId="2d47d5c7-389a-4b91-8fc5-dfad12ad20c7" providerId="ADAL" clId="{49736F4C-E420-4B3F-9845-0B050AF5F406}" dt="2020-06-25T13:59:20.885" v="4" actId="1592"/>
        <pc:sldMkLst>
          <pc:docMk/>
          <pc:sldMk cId="102007623" sldId="1995"/>
        </pc:sldMkLst>
        <pc:spChg chg="del">
          <ac:chgData name="Christopher Weaver" userId="2d47d5c7-389a-4b91-8fc5-dfad12ad20c7" providerId="ADAL" clId="{49736F4C-E420-4B3F-9845-0B050AF5F406}" dt="2020-06-25T13:58:28.441" v="1" actId="478"/>
          <ac:spMkLst>
            <pc:docMk/>
            <pc:sldMk cId="102007623" sldId="1995"/>
            <ac:spMk id="2" creationId="{E8AEFA7D-8CFE-4996-ADBC-F1BF10B3EAF9}"/>
          </ac:spMkLst>
        </pc:spChg>
      </pc:sldChg>
      <pc:sldChg chg="delSp mod">
        <pc:chgData name="Christopher Weaver" userId="2d47d5c7-389a-4b91-8fc5-dfad12ad20c7" providerId="ADAL" clId="{49736F4C-E420-4B3F-9845-0B050AF5F406}" dt="2020-06-25T13:59:54.383" v="5" actId="478"/>
        <pc:sldMkLst>
          <pc:docMk/>
          <pc:sldMk cId="2875695618" sldId="1996"/>
        </pc:sldMkLst>
        <pc:spChg chg="del">
          <ac:chgData name="Christopher Weaver" userId="2d47d5c7-389a-4b91-8fc5-dfad12ad20c7" providerId="ADAL" clId="{49736F4C-E420-4B3F-9845-0B050AF5F406}" dt="2020-06-25T13:59:54.383" v="5" actId="478"/>
          <ac:spMkLst>
            <pc:docMk/>
            <pc:sldMk cId="2875695618" sldId="1996"/>
            <ac:spMk id="3" creationId="{86BC5F6A-8465-43F1-9A91-99D3584735C5}"/>
          </ac:spMkLst>
        </pc:spChg>
      </pc:sldChg>
      <pc:sldChg chg="delSp mod">
        <pc:chgData name="Christopher Weaver" userId="2d47d5c7-389a-4b91-8fc5-dfad12ad20c7" providerId="ADAL" clId="{49736F4C-E420-4B3F-9845-0B050AF5F406}" dt="2020-06-25T14:00:09.860" v="6" actId="478"/>
        <pc:sldMkLst>
          <pc:docMk/>
          <pc:sldMk cId="3612004523" sldId="1997"/>
        </pc:sldMkLst>
        <pc:spChg chg="del">
          <ac:chgData name="Christopher Weaver" userId="2d47d5c7-389a-4b91-8fc5-dfad12ad20c7" providerId="ADAL" clId="{49736F4C-E420-4B3F-9845-0B050AF5F406}" dt="2020-06-25T14:00:09.860" v="6" actId="478"/>
          <ac:spMkLst>
            <pc:docMk/>
            <pc:sldMk cId="3612004523" sldId="1997"/>
            <ac:spMk id="7" creationId="{B1C6CC34-BFD3-4E18-BA3D-05F7194DE6C6}"/>
          </ac:spMkLst>
        </pc:spChg>
      </pc:sldChg>
      <pc:sldChg chg="delSp mod">
        <pc:chgData name="Christopher Weaver" userId="2d47d5c7-389a-4b91-8fc5-dfad12ad20c7" providerId="ADAL" clId="{49736F4C-E420-4B3F-9845-0B050AF5F406}" dt="2020-06-25T14:00:18.272" v="7" actId="478"/>
        <pc:sldMkLst>
          <pc:docMk/>
          <pc:sldMk cId="4009327331" sldId="1998"/>
        </pc:sldMkLst>
        <pc:spChg chg="del">
          <ac:chgData name="Christopher Weaver" userId="2d47d5c7-389a-4b91-8fc5-dfad12ad20c7" providerId="ADAL" clId="{49736F4C-E420-4B3F-9845-0B050AF5F406}" dt="2020-06-25T14:00:18.272" v="7" actId="478"/>
          <ac:spMkLst>
            <pc:docMk/>
            <pc:sldMk cId="4009327331" sldId="1998"/>
            <ac:spMk id="2" creationId="{F9ACD297-C7E3-465A-AF5F-25A499F70BA3}"/>
          </ac:spMkLst>
        </pc:spChg>
      </pc:sldChg>
      <pc:sldChg chg="delSp mod">
        <pc:chgData name="Christopher Weaver" userId="2d47d5c7-389a-4b91-8fc5-dfad12ad20c7" providerId="ADAL" clId="{49736F4C-E420-4B3F-9845-0B050AF5F406}" dt="2020-06-25T14:00:44.828" v="9" actId="478"/>
        <pc:sldMkLst>
          <pc:docMk/>
          <pc:sldMk cId="1491234068" sldId="1999"/>
        </pc:sldMkLst>
        <pc:spChg chg="del">
          <ac:chgData name="Christopher Weaver" userId="2d47d5c7-389a-4b91-8fc5-dfad12ad20c7" providerId="ADAL" clId="{49736F4C-E420-4B3F-9845-0B050AF5F406}" dt="2020-06-25T14:00:44.828" v="9" actId="478"/>
          <ac:spMkLst>
            <pc:docMk/>
            <pc:sldMk cId="1491234068" sldId="1999"/>
            <ac:spMk id="6" creationId="{0996AA0F-3003-4D8E-976F-0338F02336D1}"/>
          </ac:spMkLst>
        </pc:spChg>
      </pc:sldChg>
      <pc:sldChg chg="delSp mod">
        <pc:chgData name="Christopher Weaver" userId="2d47d5c7-389a-4b91-8fc5-dfad12ad20c7" providerId="ADAL" clId="{49736F4C-E420-4B3F-9845-0B050AF5F406}" dt="2020-06-25T14:00:51.683" v="10" actId="478"/>
        <pc:sldMkLst>
          <pc:docMk/>
          <pc:sldMk cId="3816319392" sldId="2000"/>
        </pc:sldMkLst>
        <pc:spChg chg="del">
          <ac:chgData name="Christopher Weaver" userId="2d47d5c7-389a-4b91-8fc5-dfad12ad20c7" providerId="ADAL" clId="{49736F4C-E420-4B3F-9845-0B050AF5F406}" dt="2020-06-25T14:00:51.683" v="10" actId="478"/>
          <ac:spMkLst>
            <pc:docMk/>
            <pc:sldMk cId="3816319392" sldId="2000"/>
            <ac:spMk id="2" creationId="{1943E643-897E-4958-A10D-58F30BC146FE}"/>
          </ac:spMkLst>
        </pc:spChg>
      </pc:sldChg>
      <pc:sldChg chg="delSp mod">
        <pc:chgData name="Christopher Weaver" userId="2d47d5c7-389a-4b91-8fc5-dfad12ad20c7" providerId="ADAL" clId="{49736F4C-E420-4B3F-9845-0B050AF5F406}" dt="2020-06-25T14:00:37.605" v="8" actId="478"/>
        <pc:sldMkLst>
          <pc:docMk/>
          <pc:sldMk cId="3916075055" sldId="2001"/>
        </pc:sldMkLst>
        <pc:spChg chg="del">
          <ac:chgData name="Christopher Weaver" userId="2d47d5c7-389a-4b91-8fc5-dfad12ad20c7" providerId="ADAL" clId="{49736F4C-E420-4B3F-9845-0B050AF5F406}" dt="2020-06-25T14:00:37.605" v="8" actId="478"/>
          <ac:spMkLst>
            <pc:docMk/>
            <pc:sldMk cId="3916075055" sldId="2001"/>
            <ac:spMk id="3" creationId="{19DCBB24-9757-476E-9ED0-336B1D3B4460}"/>
          </ac:spMkLst>
        </pc:spChg>
      </pc:sldChg>
      <pc:sldChg chg="delSp mod">
        <pc:chgData name="Christopher Weaver" userId="2d47d5c7-389a-4b91-8fc5-dfad12ad20c7" providerId="ADAL" clId="{49736F4C-E420-4B3F-9845-0B050AF5F406}" dt="2020-06-25T14:01:11.478" v="11" actId="478"/>
        <pc:sldMkLst>
          <pc:docMk/>
          <pc:sldMk cId="989663208" sldId="2002"/>
        </pc:sldMkLst>
        <pc:spChg chg="del">
          <ac:chgData name="Christopher Weaver" userId="2d47d5c7-389a-4b91-8fc5-dfad12ad20c7" providerId="ADAL" clId="{49736F4C-E420-4B3F-9845-0B050AF5F406}" dt="2020-06-25T14:01:11.478" v="11" actId="478"/>
          <ac:spMkLst>
            <pc:docMk/>
            <pc:sldMk cId="989663208" sldId="2002"/>
            <ac:spMk id="3" creationId="{1186B97C-156C-4FD7-AC5C-5B391CE0AD22}"/>
          </ac:spMkLst>
        </pc:spChg>
      </pc:sldChg>
      <pc:sldChg chg="delSp mod">
        <pc:chgData name="Christopher Weaver" userId="2d47d5c7-389a-4b91-8fc5-dfad12ad20c7" providerId="ADAL" clId="{49736F4C-E420-4B3F-9845-0B050AF5F406}" dt="2020-06-25T14:01:22.192" v="12" actId="478"/>
        <pc:sldMkLst>
          <pc:docMk/>
          <pc:sldMk cId="3314700211" sldId="2003"/>
        </pc:sldMkLst>
        <pc:spChg chg="del">
          <ac:chgData name="Christopher Weaver" userId="2d47d5c7-389a-4b91-8fc5-dfad12ad20c7" providerId="ADAL" clId="{49736F4C-E420-4B3F-9845-0B050AF5F406}" dt="2020-06-25T14:01:22.192" v="12" actId="478"/>
          <ac:spMkLst>
            <pc:docMk/>
            <pc:sldMk cId="3314700211" sldId="2003"/>
            <ac:spMk id="3" creationId="{5058A9B3-9C07-467B-BBEE-11BF65197C36}"/>
          </ac:spMkLst>
        </pc:spChg>
      </pc:sldChg>
    </pc:docChg>
  </pc:docChgLst>
  <pc:docChgLst>
    <pc:chgData name="Guest User" providerId="Windows Live" clId="Web-{969DCF3B-6CE0-46EF-88F4-A2628AA5CD21}"/>
    <pc:docChg chg="addSld modSld">
      <pc:chgData name="Guest User" userId="" providerId="Windows Live" clId="Web-{969DCF3B-6CE0-46EF-88F4-A2628AA5CD21}" dt="2020-08-24T22:14:49.348" v="7"/>
      <pc:docMkLst>
        <pc:docMk/>
      </pc:docMkLst>
      <pc:sldChg chg="modSp mod setBg">
        <pc:chgData name="Guest User" userId="" providerId="Windows Live" clId="Web-{969DCF3B-6CE0-46EF-88F4-A2628AA5CD21}" dt="2020-08-24T21:31:09.867" v="4" actId="20577"/>
        <pc:sldMkLst>
          <pc:docMk/>
          <pc:sldMk cId="1675654522" sldId="1993"/>
        </pc:sldMkLst>
        <pc:spChg chg="mod">
          <ac:chgData name="Guest User" userId="" providerId="Windows Live" clId="Web-{969DCF3B-6CE0-46EF-88F4-A2628AA5CD21}" dt="2020-08-24T21:31:09.867" v="4" actId="20577"/>
          <ac:spMkLst>
            <pc:docMk/>
            <pc:sldMk cId="1675654522" sldId="1993"/>
            <ac:spMk id="2" creationId="{C412911D-CE3F-4DB3-847D-31A13A2A1E57}"/>
          </ac:spMkLst>
        </pc:spChg>
      </pc:sldChg>
      <pc:sldChg chg="new">
        <pc:chgData name="Guest User" userId="" providerId="Windows Live" clId="Web-{969DCF3B-6CE0-46EF-88F4-A2628AA5CD21}" dt="2020-08-24T22:14:49.348" v="7"/>
        <pc:sldMkLst>
          <pc:docMk/>
          <pc:sldMk cId="341693129" sldId="2007"/>
        </pc:sldMkLst>
      </pc:sldChg>
    </pc:docChg>
  </pc:docChgLst>
  <pc:docChgLst>
    <pc:chgData name="Christopher" userId="2d47d5c7-389a-4b91-8fc5-dfad12ad20c7" providerId="ADAL" clId="{A852B73B-055D-47E9-9816-B5D44BBCE14E}"/>
    <pc:docChg chg="modSld">
      <pc:chgData name="Christopher" userId="2d47d5c7-389a-4b91-8fc5-dfad12ad20c7" providerId="ADAL" clId="{A852B73B-055D-47E9-9816-B5D44BBCE14E}" dt="2020-01-23T20:42:26.992" v="15"/>
      <pc:docMkLst>
        <pc:docMk/>
      </pc:docMkLst>
      <pc:sldChg chg="addSp">
        <pc:chgData name="Christopher" userId="2d47d5c7-389a-4b91-8fc5-dfad12ad20c7" providerId="ADAL" clId="{A852B73B-055D-47E9-9816-B5D44BBCE14E}" dt="2020-01-23T19:53:00.228" v="4"/>
        <pc:sldMkLst>
          <pc:docMk/>
          <pc:sldMk cId="4186606887" sldId="262"/>
        </pc:sldMkLst>
        <pc:picChg chg="add">
          <ac:chgData name="Christopher" userId="2d47d5c7-389a-4b91-8fc5-dfad12ad20c7" providerId="ADAL" clId="{A852B73B-055D-47E9-9816-B5D44BBCE14E}" dt="2020-01-23T19:53:00.228" v="4"/>
          <ac:picMkLst>
            <pc:docMk/>
            <pc:sldMk cId="4186606887" sldId="262"/>
            <ac:picMk id="3" creationId="{0BB22454-A574-43F2-AA4A-DA8E7F6E2C07}"/>
          </ac:picMkLst>
        </pc:picChg>
      </pc:sldChg>
      <pc:sldChg chg="modTransition">
        <pc:chgData name="Christopher" userId="2d47d5c7-389a-4b91-8fc5-dfad12ad20c7" providerId="ADAL" clId="{A852B73B-055D-47E9-9816-B5D44BBCE14E}" dt="2020-01-23T20:42:26.992" v="15"/>
        <pc:sldMkLst>
          <pc:docMk/>
          <pc:sldMk cId="1076368552" sldId="276"/>
        </pc:sldMkLst>
      </pc:sldChg>
      <pc:sldChg chg="addSp">
        <pc:chgData name="Christopher" userId="2d47d5c7-389a-4b91-8fc5-dfad12ad20c7" providerId="ADAL" clId="{A852B73B-055D-47E9-9816-B5D44BBCE14E}" dt="2020-01-23T20:38:42.851" v="14"/>
        <pc:sldMkLst>
          <pc:docMk/>
          <pc:sldMk cId="3525975785" sldId="382"/>
        </pc:sldMkLst>
        <pc:picChg chg="add">
          <ac:chgData name="Christopher" userId="2d47d5c7-389a-4b91-8fc5-dfad12ad20c7" providerId="ADAL" clId="{A852B73B-055D-47E9-9816-B5D44BBCE14E}" dt="2020-01-23T20:38:42.851" v="14"/>
          <ac:picMkLst>
            <pc:docMk/>
            <pc:sldMk cId="3525975785" sldId="382"/>
            <ac:picMk id="3" creationId="{04A38853-AB83-4409-BF7C-098759E6BF79}"/>
          </ac:picMkLst>
        </pc:picChg>
      </pc:sldChg>
      <pc:sldChg chg="addSp">
        <pc:chgData name="Christopher" userId="2d47d5c7-389a-4b91-8fc5-dfad12ad20c7" providerId="ADAL" clId="{A852B73B-055D-47E9-9816-B5D44BBCE14E}" dt="2020-01-23T19:58:23.631" v="5"/>
        <pc:sldMkLst>
          <pc:docMk/>
          <pc:sldMk cId="2750993272" sldId="399"/>
        </pc:sldMkLst>
        <pc:picChg chg="add">
          <ac:chgData name="Christopher" userId="2d47d5c7-389a-4b91-8fc5-dfad12ad20c7" providerId="ADAL" clId="{A852B73B-055D-47E9-9816-B5D44BBCE14E}" dt="2020-01-23T19:58:23.631" v="5"/>
          <ac:picMkLst>
            <pc:docMk/>
            <pc:sldMk cId="2750993272" sldId="399"/>
            <ac:picMk id="2" creationId="{9DD57E5B-107B-4128-8D1C-93B6087BAE21}"/>
          </ac:picMkLst>
        </pc:picChg>
      </pc:sldChg>
      <pc:sldChg chg="addSp modSp">
        <pc:chgData name="Christopher" userId="2d47d5c7-389a-4b91-8fc5-dfad12ad20c7" providerId="ADAL" clId="{A852B73B-055D-47E9-9816-B5D44BBCE14E}" dt="2020-01-23T20:31:38.825" v="13"/>
        <pc:sldMkLst>
          <pc:docMk/>
          <pc:sldMk cId="3716265243" sldId="1966"/>
        </pc:sldMkLst>
        <pc:spChg chg="mod">
          <ac:chgData name="Christopher" userId="2d47d5c7-389a-4b91-8fc5-dfad12ad20c7" providerId="ADAL" clId="{A852B73B-055D-47E9-9816-B5D44BBCE14E}" dt="2020-01-23T20:31:38.825" v="13"/>
          <ac:spMkLst>
            <pc:docMk/>
            <pc:sldMk cId="3716265243" sldId="1966"/>
            <ac:spMk id="5" creationId="{85009BE3-B1BD-4BF5-A2F8-829617D42196}"/>
          </ac:spMkLst>
        </pc:spChg>
        <pc:picChg chg="add">
          <ac:chgData name="Christopher" userId="2d47d5c7-389a-4b91-8fc5-dfad12ad20c7" providerId="ADAL" clId="{A852B73B-055D-47E9-9816-B5D44BBCE14E}" dt="2020-01-23T20:00:40.650" v="6"/>
          <ac:picMkLst>
            <pc:docMk/>
            <pc:sldMk cId="3716265243" sldId="1966"/>
            <ac:picMk id="3" creationId="{A540C662-7F41-41C5-8A50-990812FFCD9F}"/>
          </ac:picMkLst>
        </pc:picChg>
        <pc:picChg chg="add">
          <ac:chgData name="Christopher" userId="2d47d5c7-389a-4b91-8fc5-dfad12ad20c7" providerId="ADAL" clId="{A852B73B-055D-47E9-9816-B5D44BBCE14E}" dt="2020-01-23T20:01:09.864" v="7"/>
          <ac:picMkLst>
            <pc:docMk/>
            <pc:sldMk cId="3716265243" sldId="1966"/>
            <ac:picMk id="4" creationId="{8CAE28EB-8021-4F21-ABAF-B6605D66B2BC}"/>
          </ac:picMkLst>
        </pc:picChg>
        <pc:picChg chg="add">
          <ac:chgData name="Christopher" userId="2d47d5c7-389a-4b91-8fc5-dfad12ad20c7" providerId="ADAL" clId="{A852B73B-055D-47E9-9816-B5D44BBCE14E}" dt="2020-01-23T20:29:58.792" v="8"/>
          <ac:picMkLst>
            <pc:docMk/>
            <pc:sldMk cId="3716265243" sldId="1966"/>
            <ac:picMk id="6" creationId="{856D204A-C64F-457D-AB98-2343FB0C95DC}"/>
          </ac:picMkLst>
        </pc:picChg>
        <pc:picChg chg="add">
          <ac:chgData name="Christopher" userId="2d47d5c7-389a-4b91-8fc5-dfad12ad20c7" providerId="ADAL" clId="{A852B73B-055D-47E9-9816-B5D44BBCE14E}" dt="2020-01-23T20:30:32.001" v="9"/>
          <ac:picMkLst>
            <pc:docMk/>
            <pc:sldMk cId="3716265243" sldId="1966"/>
            <ac:picMk id="7" creationId="{0FB86561-A419-45D4-9439-EF8EF758DAB4}"/>
          </ac:picMkLst>
        </pc:picChg>
      </pc:sldChg>
      <pc:sldChg chg="addSp">
        <pc:chgData name="Christopher" userId="2d47d5c7-389a-4b91-8fc5-dfad12ad20c7" providerId="ADAL" clId="{A852B73B-055D-47E9-9816-B5D44BBCE14E}" dt="2020-01-23T18:54:21.290" v="3"/>
        <pc:sldMkLst>
          <pc:docMk/>
          <pc:sldMk cId="1097285130" sldId="1969"/>
        </pc:sldMkLst>
        <pc:picChg chg="add">
          <ac:chgData name="Christopher" userId="2d47d5c7-389a-4b91-8fc5-dfad12ad20c7" providerId="ADAL" clId="{A852B73B-055D-47E9-9816-B5D44BBCE14E}" dt="2020-01-23T18:54:21.290" v="3"/>
          <ac:picMkLst>
            <pc:docMk/>
            <pc:sldMk cId="1097285130" sldId="1969"/>
            <ac:picMk id="2" creationId="{70C2191B-7DC1-48C7-8CDF-715DA851F19A}"/>
          </ac:picMkLst>
        </pc:picChg>
      </pc:sldChg>
      <pc:sldChg chg="addSp">
        <pc:chgData name="Christopher" userId="2d47d5c7-389a-4b91-8fc5-dfad12ad20c7" providerId="ADAL" clId="{A852B73B-055D-47E9-9816-B5D44BBCE14E}" dt="2020-01-23T16:24:58.267" v="0"/>
        <pc:sldMkLst>
          <pc:docMk/>
          <pc:sldMk cId="2383933296" sldId="1988"/>
        </pc:sldMkLst>
        <pc:picChg chg="add">
          <ac:chgData name="Christopher" userId="2d47d5c7-389a-4b91-8fc5-dfad12ad20c7" providerId="ADAL" clId="{A852B73B-055D-47E9-9816-B5D44BBCE14E}" dt="2020-01-23T16:24:58.267" v="0"/>
          <ac:picMkLst>
            <pc:docMk/>
            <pc:sldMk cId="2383933296" sldId="1988"/>
            <ac:picMk id="3" creationId="{C02F3F01-D4F4-4D1B-96DF-421DB55E4903}"/>
          </ac:picMkLst>
        </pc:picChg>
      </pc:sldChg>
      <pc:sldChg chg="addSp">
        <pc:chgData name="Christopher" userId="2d47d5c7-389a-4b91-8fc5-dfad12ad20c7" providerId="ADAL" clId="{A852B73B-055D-47E9-9816-B5D44BBCE14E}" dt="2020-01-23T18:38:17.685" v="2"/>
        <pc:sldMkLst>
          <pc:docMk/>
          <pc:sldMk cId="2070064816" sldId="1989"/>
        </pc:sldMkLst>
        <pc:picChg chg="add">
          <ac:chgData name="Christopher" userId="2d47d5c7-389a-4b91-8fc5-dfad12ad20c7" providerId="ADAL" clId="{A852B73B-055D-47E9-9816-B5D44BBCE14E}" dt="2020-01-23T18:37:17.061" v="1"/>
          <ac:picMkLst>
            <pc:docMk/>
            <pc:sldMk cId="2070064816" sldId="1989"/>
            <ac:picMk id="4" creationId="{3568D361-1CFD-4C37-BD38-46E0FA4925D8}"/>
          </ac:picMkLst>
        </pc:picChg>
        <pc:picChg chg="add">
          <ac:chgData name="Christopher" userId="2d47d5c7-389a-4b91-8fc5-dfad12ad20c7" providerId="ADAL" clId="{A852B73B-055D-47E9-9816-B5D44BBCE14E}" dt="2020-01-23T18:38:17.685" v="2"/>
          <ac:picMkLst>
            <pc:docMk/>
            <pc:sldMk cId="2070064816" sldId="1989"/>
            <ac:picMk id="5" creationId="{0C9F847A-404C-4A99-969C-0F7F8CBC03F7}"/>
          </ac:picMkLst>
        </pc:picChg>
      </pc:sldChg>
    </pc:docChg>
  </pc:docChgLst>
  <pc:docChgLst>
    <pc:chgData name="Matias Rama" userId="bdb996b8-8278-412a-926d-fa225ff77c33" providerId="ADAL" clId="{5D10714D-C049-47A7-B22A-F0B7811F07CA}"/>
    <pc:docChg chg="undo custSel addSld delSld modSld">
      <pc:chgData name="Matias Rama" userId="bdb996b8-8278-412a-926d-fa225ff77c33" providerId="ADAL" clId="{5D10714D-C049-47A7-B22A-F0B7811F07CA}" dt="2020-05-05T23:14:32.480" v="42" actId="20577"/>
      <pc:docMkLst>
        <pc:docMk/>
      </pc:docMkLst>
      <pc:sldChg chg="modSp mod">
        <pc:chgData name="Matias Rama" userId="bdb996b8-8278-412a-926d-fa225ff77c33" providerId="ADAL" clId="{5D10714D-C049-47A7-B22A-F0B7811F07CA}" dt="2020-05-05T23:14:32.480" v="42" actId="20577"/>
        <pc:sldMkLst>
          <pc:docMk/>
          <pc:sldMk cId="1325058836" sldId="256"/>
        </pc:sldMkLst>
        <pc:spChg chg="mod">
          <ac:chgData name="Matias Rama" userId="bdb996b8-8278-412a-926d-fa225ff77c33" providerId="ADAL" clId="{5D10714D-C049-47A7-B22A-F0B7811F07CA}" dt="2020-05-05T23:14:32.480" v="42" actId="20577"/>
          <ac:spMkLst>
            <pc:docMk/>
            <pc:sldMk cId="1325058836" sldId="256"/>
            <ac:spMk id="6" creationId="{00000000-0000-0000-0000-000000000000}"/>
          </ac:spMkLst>
        </pc:spChg>
      </pc:sldChg>
      <pc:sldChg chg="mod modShow">
        <pc:chgData name="Matias Rama" userId="bdb996b8-8278-412a-926d-fa225ff77c33" providerId="ADAL" clId="{5D10714D-C049-47A7-B22A-F0B7811F07CA}" dt="2020-05-05T22:41:02.216" v="23" actId="729"/>
        <pc:sldMkLst>
          <pc:docMk/>
          <pc:sldMk cId="4186606887" sldId="262"/>
        </pc:sldMkLst>
      </pc:sldChg>
      <pc:sldChg chg="mod modShow">
        <pc:chgData name="Matias Rama" userId="bdb996b8-8278-412a-926d-fa225ff77c33" providerId="ADAL" clId="{5D10714D-C049-47A7-B22A-F0B7811F07CA}" dt="2020-05-05T22:43:14.710" v="38" actId="729"/>
        <pc:sldMkLst>
          <pc:docMk/>
          <pc:sldMk cId="3525975785" sldId="382"/>
        </pc:sldMkLst>
      </pc:sldChg>
      <pc:sldChg chg="mod modShow">
        <pc:chgData name="Matias Rama" userId="bdb996b8-8278-412a-926d-fa225ff77c33" providerId="ADAL" clId="{5D10714D-C049-47A7-B22A-F0B7811F07CA}" dt="2020-05-05T22:41:02.216" v="23" actId="729"/>
        <pc:sldMkLst>
          <pc:docMk/>
          <pc:sldMk cId="2750993272" sldId="399"/>
        </pc:sldMkLst>
      </pc:sldChg>
      <pc:sldChg chg="modSp">
        <pc:chgData name="Matias Rama" userId="bdb996b8-8278-412a-926d-fa225ff77c33" providerId="ADAL" clId="{5D10714D-C049-47A7-B22A-F0B7811F07CA}" dt="2020-05-05T22:43:19.849" v="39" actId="207"/>
        <pc:sldMkLst>
          <pc:docMk/>
          <pc:sldMk cId="1323131104" sldId="423"/>
        </pc:sldMkLst>
        <pc:spChg chg="mod">
          <ac:chgData name="Matias Rama" userId="bdb996b8-8278-412a-926d-fa225ff77c33" providerId="ADAL" clId="{5D10714D-C049-47A7-B22A-F0B7811F07CA}" dt="2020-05-05T22:43:19.849" v="39" actId="207"/>
          <ac:spMkLst>
            <pc:docMk/>
            <pc:sldMk cId="1323131104" sldId="423"/>
            <ac:spMk id="2" creationId="{00000000-0000-0000-0000-000000000000}"/>
          </ac:spMkLst>
        </pc:spChg>
      </pc:sldChg>
      <pc:sldChg chg="modSp">
        <pc:chgData name="Matias Rama" userId="bdb996b8-8278-412a-926d-fa225ff77c33" providerId="ADAL" clId="{5D10714D-C049-47A7-B22A-F0B7811F07CA}" dt="2020-05-05T22:41:39.526" v="26" actId="207"/>
        <pc:sldMkLst>
          <pc:docMk/>
          <pc:sldMk cId="3716265243" sldId="1966"/>
        </pc:sldMkLst>
        <pc:spChg chg="mod">
          <ac:chgData name="Matias Rama" userId="bdb996b8-8278-412a-926d-fa225ff77c33" providerId="ADAL" clId="{5D10714D-C049-47A7-B22A-F0B7811F07CA}" dt="2020-05-05T22:41:39.526" v="26" actId="207"/>
          <ac:spMkLst>
            <pc:docMk/>
            <pc:sldMk cId="3716265243" sldId="1966"/>
            <ac:spMk id="2" creationId="{C962C15F-95E3-481D-A0CF-AE6555E28DA2}"/>
          </ac:spMkLst>
        </pc:spChg>
      </pc:sldChg>
      <pc:sldChg chg="mod modShow">
        <pc:chgData name="Matias Rama" userId="bdb996b8-8278-412a-926d-fa225ff77c33" providerId="ADAL" clId="{5D10714D-C049-47A7-B22A-F0B7811F07CA}" dt="2020-05-05T22:42:34.333" v="34" actId="729"/>
        <pc:sldMkLst>
          <pc:docMk/>
          <pc:sldMk cId="12318851" sldId="1967"/>
        </pc:sldMkLst>
      </pc:sldChg>
      <pc:sldChg chg="mod modShow">
        <pc:chgData name="Matias Rama" userId="bdb996b8-8278-412a-926d-fa225ff77c33" providerId="ADAL" clId="{5D10714D-C049-47A7-B22A-F0B7811F07CA}" dt="2020-05-05T22:39:19.352" v="19" actId="729"/>
        <pc:sldMkLst>
          <pc:docMk/>
          <pc:sldMk cId="1097285130" sldId="1969"/>
        </pc:sldMkLst>
      </pc:sldChg>
      <pc:sldChg chg="modSp">
        <pc:chgData name="Matias Rama" userId="bdb996b8-8278-412a-926d-fa225ff77c33" providerId="ADAL" clId="{5D10714D-C049-47A7-B22A-F0B7811F07CA}" dt="2020-05-05T22:41:24.226" v="25" actId="207"/>
        <pc:sldMkLst>
          <pc:docMk/>
          <pc:sldMk cId="2363988451" sldId="1975"/>
        </pc:sldMkLst>
        <pc:spChg chg="mod">
          <ac:chgData name="Matias Rama" userId="bdb996b8-8278-412a-926d-fa225ff77c33" providerId="ADAL" clId="{5D10714D-C049-47A7-B22A-F0B7811F07CA}" dt="2020-05-05T22:41:24.226" v="25" actId="207"/>
          <ac:spMkLst>
            <pc:docMk/>
            <pc:sldMk cId="2363988451" sldId="1975"/>
            <ac:spMk id="4" creationId="{CFC532B9-1692-43B5-938B-BB438AC5343F}"/>
          </ac:spMkLst>
        </pc:spChg>
      </pc:sldChg>
      <pc:sldChg chg="mod modShow">
        <pc:chgData name="Matias Rama" userId="bdb996b8-8278-412a-926d-fa225ff77c33" providerId="ADAL" clId="{5D10714D-C049-47A7-B22A-F0B7811F07CA}" dt="2020-05-05T22:37:06.399" v="7" actId="729"/>
        <pc:sldMkLst>
          <pc:docMk/>
          <pc:sldMk cId="1735364846" sldId="1981"/>
        </pc:sldMkLst>
      </pc:sldChg>
      <pc:sldChg chg="mod modShow">
        <pc:chgData name="Matias Rama" userId="bdb996b8-8278-412a-926d-fa225ff77c33" providerId="ADAL" clId="{5D10714D-C049-47A7-B22A-F0B7811F07CA}" dt="2020-05-05T22:39:19.352" v="19" actId="729"/>
        <pc:sldMkLst>
          <pc:docMk/>
          <pc:sldMk cId="2383933296" sldId="1988"/>
        </pc:sldMkLst>
      </pc:sldChg>
      <pc:sldChg chg="mod modShow">
        <pc:chgData name="Matias Rama" userId="bdb996b8-8278-412a-926d-fa225ff77c33" providerId="ADAL" clId="{5D10714D-C049-47A7-B22A-F0B7811F07CA}" dt="2020-05-05T22:39:19.352" v="19" actId="729"/>
        <pc:sldMkLst>
          <pc:docMk/>
          <pc:sldMk cId="2070064816" sldId="1989"/>
        </pc:sldMkLst>
      </pc:sldChg>
      <pc:sldChg chg="modSp">
        <pc:chgData name="Matias Rama" userId="bdb996b8-8278-412a-926d-fa225ff77c33" providerId="ADAL" clId="{5D10714D-C049-47A7-B22A-F0B7811F07CA}" dt="2020-05-05T22:35:55.949" v="3" actId="207"/>
        <pc:sldMkLst>
          <pc:docMk/>
          <pc:sldMk cId="1831265177" sldId="1990"/>
        </pc:sldMkLst>
        <pc:spChg chg="mod">
          <ac:chgData name="Matias Rama" userId="bdb996b8-8278-412a-926d-fa225ff77c33" providerId="ADAL" clId="{5D10714D-C049-47A7-B22A-F0B7811F07CA}" dt="2020-05-05T22:35:55.949" v="3" actId="207"/>
          <ac:spMkLst>
            <pc:docMk/>
            <pc:sldMk cId="1831265177" sldId="1990"/>
            <ac:spMk id="2" creationId="{00000000-0000-0000-0000-000000000000}"/>
          </ac:spMkLst>
        </pc:spChg>
      </pc:sldChg>
      <pc:sldChg chg="modSp">
        <pc:chgData name="Matias Rama" userId="bdb996b8-8278-412a-926d-fa225ff77c33" providerId="ADAL" clId="{5D10714D-C049-47A7-B22A-F0B7811F07CA}" dt="2020-05-05T22:39:26.035" v="20" actId="207"/>
        <pc:sldMkLst>
          <pc:docMk/>
          <pc:sldMk cId="3571336088" sldId="1991"/>
        </pc:sldMkLst>
        <pc:spChg chg="mod">
          <ac:chgData name="Matias Rama" userId="bdb996b8-8278-412a-926d-fa225ff77c33" providerId="ADAL" clId="{5D10714D-C049-47A7-B22A-F0B7811F07CA}" dt="2020-05-05T22:39:26.035" v="20" actId="207"/>
          <ac:spMkLst>
            <pc:docMk/>
            <pc:sldMk cId="3571336088" sldId="1991"/>
            <ac:spMk id="4" creationId="{12D8DE96-0708-4A7F-9C9B-9D0A5B378080}"/>
          </ac:spMkLst>
        </pc:spChg>
      </pc:sldChg>
      <pc:sldChg chg="mod modShow">
        <pc:chgData name="Matias Rama" userId="bdb996b8-8278-412a-926d-fa225ff77c33" providerId="ADAL" clId="{5D10714D-C049-47A7-B22A-F0B7811F07CA}" dt="2020-05-05T22:36:35.765" v="5" actId="729"/>
        <pc:sldMkLst>
          <pc:docMk/>
          <pc:sldMk cId="4176708396" sldId="1992"/>
        </pc:sldMkLst>
      </pc:sldChg>
      <pc:sldChg chg="modSp">
        <pc:chgData name="Matias Rama" userId="bdb996b8-8278-412a-926d-fa225ff77c33" providerId="ADAL" clId="{5D10714D-C049-47A7-B22A-F0B7811F07CA}" dt="2020-05-05T22:36:49.827" v="6" actId="207"/>
        <pc:sldMkLst>
          <pc:docMk/>
          <pc:sldMk cId="1675654522" sldId="1993"/>
        </pc:sldMkLst>
        <pc:spChg chg="mod">
          <ac:chgData name="Matias Rama" userId="bdb996b8-8278-412a-926d-fa225ff77c33" providerId="ADAL" clId="{5D10714D-C049-47A7-B22A-F0B7811F07CA}" dt="2020-05-05T22:36:49.827" v="6" actId="207"/>
          <ac:spMkLst>
            <pc:docMk/>
            <pc:sldMk cId="1675654522" sldId="1993"/>
            <ac:spMk id="2" creationId="{C412911D-CE3F-4DB3-847D-31A13A2A1E57}"/>
          </ac:spMkLst>
        </pc:spChg>
      </pc:sldChg>
      <pc:sldChg chg="add del">
        <pc:chgData name="Matias Rama" userId="bdb996b8-8278-412a-926d-fa225ff77c33" providerId="ADAL" clId="{5D10714D-C049-47A7-B22A-F0B7811F07CA}" dt="2020-05-05T22:35:29.151" v="2" actId="22"/>
        <pc:sldMkLst>
          <pc:docMk/>
          <pc:sldMk cId="829854860" sldId="1994"/>
        </pc:sldMkLst>
      </pc:sldChg>
      <pc:sldChg chg="add">
        <pc:chgData name="Matias Rama" userId="bdb996b8-8278-412a-926d-fa225ff77c33" providerId="ADAL" clId="{5D10714D-C049-47A7-B22A-F0B7811F07CA}" dt="2020-05-05T22:36:26.877" v="4" actId="22"/>
        <pc:sldMkLst>
          <pc:docMk/>
          <pc:sldMk cId="102007623" sldId="1995"/>
        </pc:sldMkLst>
      </pc:sldChg>
      <pc:sldChg chg="add modNotesTx">
        <pc:chgData name="Matias Rama" userId="bdb996b8-8278-412a-926d-fa225ff77c33" providerId="ADAL" clId="{5D10714D-C049-47A7-B22A-F0B7811F07CA}" dt="2020-05-05T22:38:58.116" v="18" actId="20577"/>
        <pc:sldMkLst>
          <pc:docMk/>
          <pc:sldMk cId="2875695618" sldId="1996"/>
        </pc:sldMkLst>
      </pc:sldChg>
      <pc:sldChg chg="add">
        <pc:chgData name="Matias Rama" userId="bdb996b8-8278-412a-926d-fa225ff77c33" providerId="ADAL" clId="{5D10714D-C049-47A7-B22A-F0B7811F07CA}" dt="2020-05-05T22:37:53.818" v="8" actId="22"/>
        <pc:sldMkLst>
          <pc:docMk/>
          <pc:sldMk cId="3612004523" sldId="1997"/>
        </pc:sldMkLst>
      </pc:sldChg>
      <pc:sldChg chg="modSp add mod">
        <pc:chgData name="Matias Rama" userId="bdb996b8-8278-412a-926d-fa225ff77c33" providerId="ADAL" clId="{5D10714D-C049-47A7-B22A-F0B7811F07CA}" dt="2020-05-05T22:38:19.917" v="13" actId="1076"/>
        <pc:sldMkLst>
          <pc:docMk/>
          <pc:sldMk cId="4009327331" sldId="1998"/>
        </pc:sldMkLst>
        <pc:spChg chg="mod">
          <ac:chgData name="Matias Rama" userId="bdb996b8-8278-412a-926d-fa225ff77c33" providerId="ADAL" clId="{5D10714D-C049-47A7-B22A-F0B7811F07CA}" dt="2020-05-05T22:38:19.917" v="13" actId="1076"/>
          <ac:spMkLst>
            <pc:docMk/>
            <pc:sldMk cId="4009327331" sldId="1998"/>
            <ac:spMk id="2" creationId="{F9ACD297-C7E3-465A-AF5F-25A499F70BA3}"/>
          </ac:spMkLst>
        </pc:spChg>
        <pc:picChg chg="mod">
          <ac:chgData name="Matias Rama" userId="bdb996b8-8278-412a-926d-fa225ff77c33" providerId="ADAL" clId="{5D10714D-C049-47A7-B22A-F0B7811F07CA}" dt="2020-05-05T22:38:14.087" v="12" actId="1076"/>
          <ac:picMkLst>
            <pc:docMk/>
            <pc:sldMk cId="4009327331" sldId="1998"/>
            <ac:picMk id="3" creationId="{60A4E84E-582B-45B1-9302-659A6D9E77DD}"/>
          </ac:picMkLst>
        </pc:picChg>
      </pc:sldChg>
      <pc:sldChg chg="add">
        <pc:chgData name="Matias Rama" userId="bdb996b8-8278-412a-926d-fa225ff77c33" providerId="ADAL" clId="{5D10714D-C049-47A7-B22A-F0B7811F07CA}" dt="2020-05-05T22:40:36.743" v="21" actId="22"/>
        <pc:sldMkLst>
          <pc:docMk/>
          <pc:sldMk cId="1491234068" sldId="1999"/>
        </pc:sldMkLst>
      </pc:sldChg>
      <pc:sldChg chg="add">
        <pc:chgData name="Matias Rama" userId="bdb996b8-8278-412a-926d-fa225ff77c33" providerId="ADAL" clId="{5D10714D-C049-47A7-B22A-F0B7811F07CA}" dt="2020-05-05T22:40:36.743" v="21" actId="22"/>
        <pc:sldMkLst>
          <pc:docMk/>
          <pc:sldMk cId="3816319392" sldId="2000"/>
        </pc:sldMkLst>
      </pc:sldChg>
      <pc:sldChg chg="add">
        <pc:chgData name="Matias Rama" userId="bdb996b8-8278-412a-926d-fa225ff77c33" providerId="ADAL" clId="{5D10714D-C049-47A7-B22A-F0B7811F07CA}" dt="2020-05-05T22:40:48.468" v="22" actId="22"/>
        <pc:sldMkLst>
          <pc:docMk/>
          <pc:sldMk cId="3916075055" sldId="2001"/>
        </pc:sldMkLst>
      </pc:sldChg>
      <pc:sldChg chg="modSp add mod">
        <pc:chgData name="Matias Rama" userId="bdb996b8-8278-412a-926d-fa225ff77c33" providerId="ADAL" clId="{5D10714D-C049-47A7-B22A-F0B7811F07CA}" dt="2020-05-05T22:42:30.412" v="33" actId="1076"/>
        <pc:sldMkLst>
          <pc:docMk/>
          <pc:sldMk cId="989663208" sldId="2002"/>
        </pc:sldMkLst>
        <pc:spChg chg="mod">
          <ac:chgData name="Matias Rama" userId="bdb996b8-8278-412a-926d-fa225ff77c33" providerId="ADAL" clId="{5D10714D-C049-47A7-B22A-F0B7811F07CA}" dt="2020-05-05T22:42:30.412" v="33" actId="1076"/>
          <ac:spMkLst>
            <pc:docMk/>
            <pc:sldMk cId="989663208" sldId="2002"/>
            <ac:spMk id="11" creationId="{03F59770-AD8B-469B-A88E-3E29D4DA280A}"/>
          </ac:spMkLst>
        </pc:spChg>
        <pc:picChg chg="mod">
          <ac:chgData name="Matias Rama" userId="bdb996b8-8278-412a-926d-fa225ff77c33" providerId="ADAL" clId="{5D10714D-C049-47A7-B22A-F0B7811F07CA}" dt="2020-05-05T22:42:24.327" v="32" actId="1037"/>
          <ac:picMkLst>
            <pc:docMk/>
            <pc:sldMk cId="989663208" sldId="2002"/>
            <ac:picMk id="14" creationId="{9398E18F-7D35-467D-9310-E971B43FDCC3}"/>
          </ac:picMkLst>
        </pc:picChg>
      </pc:sldChg>
      <pc:sldChg chg="add">
        <pc:chgData name="Matias Rama" userId="bdb996b8-8278-412a-926d-fa225ff77c33" providerId="ADAL" clId="{5D10714D-C049-47A7-B22A-F0B7811F07CA}" dt="2020-05-05T22:43:00.115" v="37" actId="22"/>
        <pc:sldMkLst>
          <pc:docMk/>
          <pc:sldMk cId="3314700211" sldId="2003"/>
        </pc:sldMkLst>
      </pc:sldChg>
      <pc:sldChg chg="add del">
        <pc:chgData name="Matias Rama" userId="bdb996b8-8278-412a-926d-fa225ff77c33" providerId="ADAL" clId="{5D10714D-C049-47A7-B22A-F0B7811F07CA}" dt="2020-05-05T22:42:48.764" v="36" actId="47"/>
        <pc:sldMkLst>
          <pc:docMk/>
          <pc:sldMk cId="3981269235" sldId="2003"/>
        </pc:sldMkLst>
      </pc:sldChg>
      <pc:sldMasterChg chg="addSldLayout">
        <pc:chgData name="Matias Rama" userId="bdb996b8-8278-412a-926d-fa225ff77c33" providerId="ADAL" clId="{5D10714D-C049-47A7-B22A-F0B7811F07CA}" dt="2020-05-05T22:36:26.877" v="4" actId="22"/>
        <pc:sldMasterMkLst>
          <pc:docMk/>
          <pc:sldMasterMk cId="1150004912" sldId="2147484275"/>
        </pc:sldMasterMkLst>
        <pc:sldLayoutChg chg="add">
          <pc:chgData name="Matias Rama" userId="bdb996b8-8278-412a-926d-fa225ff77c33" providerId="ADAL" clId="{5D10714D-C049-47A7-B22A-F0B7811F07CA}" dt="2020-05-05T22:36:26.877" v="4" actId="22"/>
          <pc:sldLayoutMkLst>
            <pc:docMk/>
            <pc:sldMasterMk cId="1150004912" sldId="2147484275"/>
            <pc:sldLayoutMk cId="3917844343" sldId="2147484312"/>
          </pc:sldLayoutMkLst>
        </pc:sldLayoutChg>
      </pc:sldMasterChg>
    </pc:docChg>
  </pc:docChgLst>
  <pc:docChgLst>
    <pc:chgData name="Rishabh Mathur" userId="085a90ad-ff62-452d-9cc6-fb668aecc57d" providerId="ADAL" clId="{A6002309-C994-3946-BD4B-A37915BC16A1}"/>
    <pc:docChg chg="">
      <pc:chgData name="Rishabh Mathur" userId="085a90ad-ff62-452d-9cc6-fb668aecc57d" providerId="ADAL" clId="{A6002309-C994-3946-BD4B-A37915BC16A1}" dt="2021-10-12T03:43:49.322" v="0" actId="1589"/>
      <pc:docMkLst>
        <pc:docMk/>
      </pc:docMkLst>
      <pc:sldChg chg="addCm">
        <pc:chgData name="Rishabh Mathur" userId="085a90ad-ff62-452d-9cc6-fb668aecc57d" providerId="ADAL" clId="{A6002309-C994-3946-BD4B-A37915BC16A1}" dt="2021-10-12T03:43:49.322" v="0" actId="1589"/>
        <pc:sldMkLst>
          <pc:docMk/>
          <pc:sldMk cId="497597664" sldId="2023"/>
        </pc:sldMkLst>
      </pc:sldChg>
    </pc:docChg>
  </pc:docChgLst>
  <pc:docChgLst>
    <pc:chgData name="Alison Yeh" userId="S::alye@microsoft.com::86d98d7c-5861-42c0-9426-3e74a9b3ea79" providerId="AD" clId="Web-{984BF3B4-085E-BA52-0C81-8886A4580C6E}"/>
    <pc:docChg chg="modSld">
      <pc:chgData name="Alison Yeh" userId="S::alye@microsoft.com::86d98d7c-5861-42c0-9426-3e74a9b3ea79" providerId="AD" clId="Web-{984BF3B4-085E-BA52-0C81-8886A4580C6E}" dt="2020-11-03T02:12:42.527" v="5" actId="20577"/>
      <pc:docMkLst>
        <pc:docMk/>
      </pc:docMkLst>
      <pc:sldChg chg="modSp">
        <pc:chgData name="Alison Yeh" userId="S::alye@microsoft.com::86d98d7c-5861-42c0-9426-3e74a9b3ea79" providerId="AD" clId="Web-{984BF3B4-085E-BA52-0C81-8886A4580C6E}" dt="2020-11-03T02:12:42.527" v="5" actId="20577"/>
        <pc:sldMkLst>
          <pc:docMk/>
          <pc:sldMk cId="1325058836" sldId="256"/>
        </pc:sldMkLst>
        <pc:spChg chg="mod">
          <ac:chgData name="Alison Yeh" userId="S::alye@microsoft.com::86d98d7c-5861-42c0-9426-3e74a9b3ea79" providerId="AD" clId="Web-{984BF3B4-085E-BA52-0C81-8886A4580C6E}" dt="2020-11-03T02:12:42.527" v="5" actId="20577"/>
          <ac:spMkLst>
            <pc:docMk/>
            <pc:sldMk cId="1325058836" sldId="256"/>
            <ac:spMk id="6" creationId="{00000000-0000-0000-0000-000000000000}"/>
          </ac:spMkLst>
        </pc:spChg>
      </pc:sldChg>
    </pc:docChg>
  </pc:docChgLst>
  <pc:docChgLst>
    <pc:chgData name="Asia Gandecka" userId="d4533edf-3129-4e97-a6db-54867d5d9a08" providerId="ADAL" clId="{589596F8-DEBB-4D6F-8716-DC3B8C328166}"/>
    <pc:docChg chg="undo redo custSel mod addSld delSld modSld sldOrd">
      <pc:chgData name="Asia Gandecka" userId="d4533edf-3129-4e97-a6db-54867d5d9a08" providerId="ADAL" clId="{589596F8-DEBB-4D6F-8716-DC3B8C328166}" dt="2019-04-24T22:18:50.022" v="1733" actId="20577"/>
      <pc:docMkLst>
        <pc:docMk/>
      </pc:docMkLst>
      <pc:sldChg chg="modSp">
        <pc:chgData name="Asia Gandecka" userId="d4533edf-3129-4e97-a6db-54867d5d9a08" providerId="ADAL" clId="{589596F8-DEBB-4D6F-8716-DC3B8C328166}" dt="2019-04-24T01:58:15.681" v="11" actId="20577"/>
        <pc:sldMkLst>
          <pc:docMk/>
          <pc:sldMk cId="1325058836" sldId="256"/>
        </pc:sldMkLst>
        <pc:spChg chg="mod">
          <ac:chgData name="Asia Gandecka" userId="d4533edf-3129-4e97-a6db-54867d5d9a08" providerId="ADAL" clId="{589596F8-DEBB-4D6F-8716-DC3B8C328166}" dt="2019-04-24T01:58:15.681" v="11" actId="20577"/>
          <ac:spMkLst>
            <pc:docMk/>
            <pc:sldMk cId="1325058836" sldId="256"/>
            <ac:spMk id="6" creationId="{00000000-0000-0000-0000-000000000000}"/>
          </ac:spMkLst>
        </pc:spChg>
      </pc:sldChg>
      <pc:sldChg chg="addSp delSp modSp add ord modNotesTx">
        <pc:chgData name="Asia Gandecka" userId="d4533edf-3129-4e97-a6db-54867d5d9a08" providerId="ADAL" clId="{589596F8-DEBB-4D6F-8716-DC3B8C328166}" dt="2019-04-24T21:13:44.403" v="358"/>
        <pc:sldMkLst>
          <pc:docMk/>
          <pc:sldMk cId="4186606887" sldId="262"/>
        </pc:sldMkLst>
        <pc:spChg chg="mod">
          <ac:chgData name="Asia Gandecka" userId="d4533edf-3129-4e97-a6db-54867d5d9a08" providerId="ADAL" clId="{589596F8-DEBB-4D6F-8716-DC3B8C328166}" dt="2019-04-24T02:17:12.388" v="137" actId="403"/>
          <ac:spMkLst>
            <pc:docMk/>
            <pc:sldMk cId="4186606887" sldId="262"/>
            <ac:spMk id="2" creationId="{00000000-0000-0000-0000-000000000000}"/>
          </ac:spMkLst>
        </pc:spChg>
        <pc:spChg chg="del mod">
          <ac:chgData name="Asia Gandecka" userId="d4533edf-3129-4e97-a6db-54867d5d9a08" providerId="ADAL" clId="{589596F8-DEBB-4D6F-8716-DC3B8C328166}" dt="2019-04-24T02:16:45.379" v="129"/>
          <ac:spMkLst>
            <pc:docMk/>
            <pc:sldMk cId="4186606887" sldId="262"/>
            <ac:spMk id="3" creationId="{B7489E83-F33A-4360-BAB3-70AE5CDE46C6}"/>
          </ac:spMkLst>
        </pc:spChg>
        <pc:spChg chg="add mod">
          <ac:chgData name="Asia Gandecka" userId="d4533edf-3129-4e97-a6db-54867d5d9a08" providerId="ADAL" clId="{589596F8-DEBB-4D6F-8716-DC3B8C328166}" dt="2019-04-24T02:16:43.286" v="128"/>
          <ac:spMkLst>
            <pc:docMk/>
            <pc:sldMk cId="4186606887" sldId="262"/>
            <ac:spMk id="4" creationId="{125E8924-C304-4247-9EF9-F3D3E5B136BE}"/>
          </ac:spMkLst>
        </pc:spChg>
        <pc:spChg chg="add del mod">
          <ac:chgData name="Asia Gandecka" userId="d4533edf-3129-4e97-a6db-54867d5d9a08" providerId="ADAL" clId="{589596F8-DEBB-4D6F-8716-DC3B8C328166}" dt="2019-04-24T02:16:45.379" v="129"/>
          <ac:spMkLst>
            <pc:docMk/>
            <pc:sldMk cId="4186606887" sldId="262"/>
            <ac:spMk id="5" creationId="{84EEC527-C052-46A9-B871-0FA6A0B8C7C1}"/>
          </ac:spMkLst>
        </pc:spChg>
        <pc:spChg chg="add del mod">
          <ac:chgData name="Asia Gandecka" userId="d4533edf-3129-4e97-a6db-54867d5d9a08" providerId="ADAL" clId="{589596F8-DEBB-4D6F-8716-DC3B8C328166}" dt="2019-04-24T02:16:49.953" v="130" actId="478"/>
          <ac:spMkLst>
            <pc:docMk/>
            <pc:sldMk cId="4186606887" sldId="262"/>
            <ac:spMk id="6" creationId="{E6159A61-F79A-4FFF-A197-8D484C83ED00}"/>
          </ac:spMkLst>
        </pc:spChg>
        <pc:spChg chg="mod">
          <ac:chgData name="Asia Gandecka" userId="d4533edf-3129-4e97-a6db-54867d5d9a08" providerId="ADAL" clId="{589596F8-DEBB-4D6F-8716-DC3B8C328166}" dt="2019-04-24T02:17:30.328" v="140" actId="14100"/>
          <ac:spMkLst>
            <pc:docMk/>
            <pc:sldMk cId="4186606887" sldId="262"/>
            <ac:spMk id="21" creationId="{00000000-0000-0000-0000-000000000000}"/>
          </ac:spMkLst>
        </pc:spChg>
        <pc:spChg chg="mod">
          <ac:chgData name="Asia Gandecka" userId="d4533edf-3129-4e97-a6db-54867d5d9a08" providerId="ADAL" clId="{589596F8-DEBB-4D6F-8716-DC3B8C328166}" dt="2019-04-24T02:17:43.809" v="142" actId="255"/>
          <ac:spMkLst>
            <pc:docMk/>
            <pc:sldMk cId="4186606887" sldId="262"/>
            <ac:spMk id="24" creationId="{00000000-0000-0000-0000-000000000000}"/>
          </ac:spMkLst>
        </pc:spChg>
        <pc:spChg chg="mod">
          <ac:chgData name="Asia Gandecka" userId="d4533edf-3129-4e97-a6db-54867d5d9a08" providerId="ADAL" clId="{589596F8-DEBB-4D6F-8716-DC3B8C328166}" dt="2019-04-24T02:17:47.575" v="143" actId="14100"/>
          <ac:spMkLst>
            <pc:docMk/>
            <pc:sldMk cId="4186606887" sldId="262"/>
            <ac:spMk id="27" creationId="{00000000-0000-0000-0000-000000000000}"/>
          </ac:spMkLst>
        </pc:spChg>
        <pc:grpChg chg="mod">
          <ac:chgData name="Asia Gandecka" userId="d4533edf-3129-4e97-a6db-54867d5d9a08" providerId="ADAL" clId="{589596F8-DEBB-4D6F-8716-DC3B8C328166}" dt="2019-04-24T02:17:11.627" v="136" actId="1076"/>
          <ac:grpSpMkLst>
            <pc:docMk/>
            <pc:sldMk cId="4186606887" sldId="262"/>
            <ac:grpSpMk id="19" creationId="{00000000-0000-0000-0000-000000000000}"/>
          </ac:grpSpMkLst>
        </pc:grpChg>
        <pc:grpChg chg="mod">
          <ac:chgData name="Asia Gandecka" userId="d4533edf-3129-4e97-a6db-54867d5d9a08" providerId="ADAL" clId="{589596F8-DEBB-4D6F-8716-DC3B8C328166}" dt="2019-04-24T02:17:26.067" v="139" actId="14100"/>
          <ac:grpSpMkLst>
            <pc:docMk/>
            <pc:sldMk cId="4186606887" sldId="262"/>
            <ac:grpSpMk id="20" creationId="{00000000-0000-0000-0000-000000000000}"/>
          </ac:grpSpMkLst>
        </pc:grpChg>
        <pc:grpChg chg="mod">
          <ac:chgData name="Asia Gandecka" userId="d4533edf-3129-4e97-a6db-54867d5d9a08" providerId="ADAL" clId="{589596F8-DEBB-4D6F-8716-DC3B8C328166}" dt="2019-04-24T02:18:01.423" v="146" actId="14100"/>
          <ac:grpSpMkLst>
            <pc:docMk/>
            <pc:sldMk cId="4186606887" sldId="262"/>
            <ac:grpSpMk id="23" creationId="{00000000-0000-0000-0000-000000000000}"/>
          </ac:grpSpMkLst>
        </pc:grpChg>
        <pc:grpChg chg="mod">
          <ac:chgData name="Asia Gandecka" userId="d4533edf-3129-4e97-a6db-54867d5d9a08" providerId="ADAL" clId="{589596F8-DEBB-4D6F-8716-DC3B8C328166}" dt="2019-04-24T02:17:50.855" v="144" actId="14100"/>
          <ac:grpSpMkLst>
            <pc:docMk/>
            <pc:sldMk cId="4186606887" sldId="262"/>
            <ac:grpSpMk id="26" creationId="{00000000-0000-0000-0000-000000000000}"/>
          </ac:grpSpMkLst>
        </pc:grpChg>
      </pc:sldChg>
      <pc:sldChg chg="modSp">
        <pc:chgData name="Asia Gandecka" userId="d4533edf-3129-4e97-a6db-54867d5d9a08" providerId="ADAL" clId="{589596F8-DEBB-4D6F-8716-DC3B8C328166}" dt="2019-04-24T22:18:39.705" v="1730" actId="20577"/>
        <pc:sldMkLst>
          <pc:docMk/>
          <pc:sldMk cId="2355728576" sldId="278"/>
        </pc:sldMkLst>
        <pc:spChg chg="mod">
          <ac:chgData name="Asia Gandecka" userId="d4533edf-3129-4e97-a6db-54867d5d9a08" providerId="ADAL" clId="{589596F8-DEBB-4D6F-8716-DC3B8C328166}" dt="2019-04-24T22:18:39.705" v="1730" actId="20577"/>
          <ac:spMkLst>
            <pc:docMk/>
            <pc:sldMk cId="2355728576" sldId="278"/>
            <ac:spMk id="3" creationId="{4C7B2818-D4B6-49AF-BC6D-48A87C308A7A}"/>
          </ac:spMkLst>
        </pc:spChg>
      </pc:sldChg>
      <pc:sldChg chg="modSp">
        <pc:chgData name="Asia Gandecka" userId="d4533edf-3129-4e97-a6db-54867d5d9a08" providerId="ADAL" clId="{589596F8-DEBB-4D6F-8716-DC3B8C328166}" dt="2019-04-24T22:18:50.022" v="1733" actId="20577"/>
        <pc:sldMkLst>
          <pc:docMk/>
          <pc:sldMk cId="3550844832" sldId="283"/>
        </pc:sldMkLst>
        <pc:spChg chg="mod">
          <ac:chgData name="Asia Gandecka" userId="d4533edf-3129-4e97-a6db-54867d5d9a08" providerId="ADAL" clId="{589596F8-DEBB-4D6F-8716-DC3B8C328166}" dt="2019-04-24T22:18:50.022" v="1733" actId="20577"/>
          <ac:spMkLst>
            <pc:docMk/>
            <pc:sldMk cId="3550844832" sldId="283"/>
            <ac:spMk id="3" creationId="{33236595-CAC9-445D-9666-E8C18A3531A2}"/>
          </ac:spMkLst>
        </pc:spChg>
      </pc:sldChg>
      <pc:sldChg chg="addSp delSp modSp add mod setBg setClrOvrMap">
        <pc:chgData name="Asia Gandecka" userId="d4533edf-3129-4e97-a6db-54867d5d9a08" providerId="ADAL" clId="{589596F8-DEBB-4D6F-8716-DC3B8C328166}" dt="2019-04-24T21:25:51.391" v="521" actId="6549"/>
        <pc:sldMkLst>
          <pc:docMk/>
          <pc:sldMk cId="2332363192" sldId="285"/>
        </pc:sldMkLst>
        <pc:spChg chg="mod">
          <ac:chgData name="Asia Gandecka" userId="d4533edf-3129-4e97-a6db-54867d5d9a08" providerId="ADAL" clId="{589596F8-DEBB-4D6F-8716-DC3B8C328166}" dt="2019-04-24T21:25:51.391" v="521" actId="6549"/>
          <ac:spMkLst>
            <pc:docMk/>
            <pc:sldMk cId="2332363192" sldId="285"/>
            <ac:spMk id="2" creationId="{E3803497-8846-4D57-89F6-587D61324381}"/>
          </ac:spMkLst>
        </pc:spChg>
        <pc:spChg chg="del">
          <ac:chgData name="Asia Gandecka" userId="d4533edf-3129-4e97-a6db-54867d5d9a08" providerId="ADAL" clId="{589596F8-DEBB-4D6F-8716-DC3B8C328166}" dt="2019-04-24T21:12:42.600" v="351"/>
          <ac:spMkLst>
            <pc:docMk/>
            <pc:sldMk cId="2332363192" sldId="285"/>
            <ac:spMk id="3" creationId="{993F2559-7974-4EE2-BA17-728AEDE2FD98}"/>
          </ac:spMkLst>
        </pc:spChg>
        <pc:spChg chg="add del">
          <ac:chgData name="Asia Gandecka" userId="d4533edf-3129-4e97-a6db-54867d5d9a08" providerId="ADAL" clId="{589596F8-DEBB-4D6F-8716-DC3B8C328166}" dt="2019-04-24T21:13:00.340" v="353" actId="26606"/>
          <ac:spMkLst>
            <pc:docMk/>
            <pc:sldMk cId="2332363192" sldId="285"/>
            <ac:spMk id="7" creationId="{559AE206-7EBA-4D33-8BC9-9D8158553F0E}"/>
          </ac:spMkLst>
        </pc:spChg>
        <pc:spChg chg="add del">
          <ac:chgData name="Asia Gandecka" userId="d4533edf-3129-4e97-a6db-54867d5d9a08" providerId="ADAL" clId="{589596F8-DEBB-4D6F-8716-DC3B8C328166}" dt="2019-04-24T21:13:00.340" v="353" actId="26606"/>
          <ac:spMkLst>
            <pc:docMk/>
            <pc:sldMk cId="2332363192" sldId="285"/>
            <ac:spMk id="9" creationId="{6437D937-A7F1-4011-92B4-328E5BE1B166}"/>
          </ac:spMkLst>
        </pc:spChg>
        <pc:spChg chg="add del">
          <ac:chgData name="Asia Gandecka" userId="d4533edf-3129-4e97-a6db-54867d5d9a08" providerId="ADAL" clId="{589596F8-DEBB-4D6F-8716-DC3B8C328166}" dt="2019-04-24T21:13:00.340" v="353" actId="26606"/>
          <ac:spMkLst>
            <pc:docMk/>
            <pc:sldMk cId="2332363192" sldId="285"/>
            <ac:spMk id="11" creationId="{B672F332-AF08-46C6-94F0-77684310D7B7}"/>
          </ac:spMkLst>
        </pc:spChg>
        <pc:spChg chg="add del">
          <ac:chgData name="Asia Gandecka" userId="d4533edf-3129-4e97-a6db-54867d5d9a08" providerId="ADAL" clId="{589596F8-DEBB-4D6F-8716-DC3B8C328166}" dt="2019-04-24T21:13:00.340" v="353" actId="26606"/>
          <ac:spMkLst>
            <pc:docMk/>
            <pc:sldMk cId="2332363192" sldId="285"/>
            <ac:spMk id="13" creationId="{34244EF8-D73A-40E1-BE73-D46E6B4B04ED}"/>
          </ac:spMkLst>
        </pc:spChg>
        <pc:spChg chg="add del">
          <ac:chgData name="Asia Gandecka" userId="d4533edf-3129-4e97-a6db-54867d5d9a08" providerId="ADAL" clId="{589596F8-DEBB-4D6F-8716-DC3B8C328166}" dt="2019-04-24T21:13:00.340" v="353" actId="26606"/>
          <ac:spMkLst>
            <pc:docMk/>
            <pc:sldMk cId="2332363192" sldId="285"/>
            <ac:spMk id="15" creationId="{AB84D7E8-4ECB-42D7-ADBF-01689B0F24AE}"/>
          </ac:spMkLst>
        </pc:spChg>
        <pc:spChg chg="add del">
          <ac:chgData name="Asia Gandecka" userId="d4533edf-3129-4e97-a6db-54867d5d9a08" providerId="ADAL" clId="{589596F8-DEBB-4D6F-8716-DC3B8C328166}" dt="2019-04-24T21:13:17.875" v="355" actId="26606"/>
          <ac:spMkLst>
            <pc:docMk/>
            <pc:sldMk cId="2332363192" sldId="285"/>
            <ac:spMk id="29" creationId="{6BDBA639-2A71-4A60-A71A-FF1836F546CE}"/>
          </ac:spMkLst>
        </pc:spChg>
        <pc:spChg chg="add del">
          <ac:chgData name="Asia Gandecka" userId="d4533edf-3129-4e97-a6db-54867d5d9a08" providerId="ADAL" clId="{589596F8-DEBB-4D6F-8716-DC3B8C328166}" dt="2019-04-24T21:13:17.875" v="355" actId="26606"/>
          <ac:spMkLst>
            <pc:docMk/>
            <pc:sldMk cId="2332363192" sldId="285"/>
            <ac:spMk id="30" creationId="{D9C506D7-84CB-4057-A44A-465313E78538}"/>
          </ac:spMkLst>
        </pc:spChg>
        <pc:spChg chg="add del">
          <ac:chgData name="Asia Gandecka" userId="d4533edf-3129-4e97-a6db-54867d5d9a08" providerId="ADAL" clId="{589596F8-DEBB-4D6F-8716-DC3B8C328166}" dt="2019-04-24T21:13:17.875" v="355" actId="26606"/>
          <ac:spMkLst>
            <pc:docMk/>
            <pc:sldMk cId="2332363192" sldId="285"/>
            <ac:spMk id="32" creationId="{7842FC68-61FD-4700-8A22-BB8B071884DB}"/>
          </ac:spMkLst>
        </pc:spChg>
        <pc:spChg chg="add del">
          <ac:chgData name="Asia Gandecka" userId="d4533edf-3129-4e97-a6db-54867d5d9a08" providerId="ADAL" clId="{589596F8-DEBB-4D6F-8716-DC3B8C328166}" dt="2019-04-24T21:13:28.997" v="356" actId="26606"/>
          <ac:spMkLst>
            <pc:docMk/>
            <pc:sldMk cId="2332363192" sldId="285"/>
            <ac:spMk id="46" creationId="{053FB2EE-284F-4C87-AB3D-BBF87A9FAB97}"/>
          </ac:spMkLst>
        </pc:spChg>
        <pc:spChg chg="add">
          <ac:chgData name="Asia Gandecka" userId="d4533edf-3129-4e97-a6db-54867d5d9a08" providerId="ADAL" clId="{589596F8-DEBB-4D6F-8716-DC3B8C328166}" dt="2019-04-24T21:13:28.997" v="356" actId="26606"/>
          <ac:spMkLst>
            <pc:docMk/>
            <pc:sldMk cId="2332363192" sldId="285"/>
            <ac:spMk id="51" creationId="{C66F2F30-5DC0-44A0-BFA6-E12F46ED16DA}"/>
          </ac:spMkLst>
        </pc:spChg>
        <pc:spChg chg="add">
          <ac:chgData name="Asia Gandecka" userId="d4533edf-3129-4e97-a6db-54867d5d9a08" providerId="ADAL" clId="{589596F8-DEBB-4D6F-8716-DC3B8C328166}" dt="2019-04-24T21:13:28.997" v="356" actId="26606"/>
          <ac:spMkLst>
            <pc:docMk/>
            <pc:sldMk cId="2332363192" sldId="285"/>
            <ac:spMk id="53" creationId="{85872F57-7F42-4F97-8391-DDC8D0054C03}"/>
          </ac:spMkLst>
        </pc:spChg>
        <pc:spChg chg="add">
          <ac:chgData name="Asia Gandecka" userId="d4533edf-3129-4e97-a6db-54867d5d9a08" providerId="ADAL" clId="{589596F8-DEBB-4D6F-8716-DC3B8C328166}" dt="2019-04-24T21:13:28.997" v="356" actId="26606"/>
          <ac:spMkLst>
            <pc:docMk/>
            <pc:sldMk cId="2332363192" sldId="285"/>
            <ac:spMk id="55" creationId="{04DC2037-48A0-4F22-B9D4-8EAEBC780AB4}"/>
          </ac:spMkLst>
        </pc:spChg>
        <pc:spChg chg="add">
          <ac:chgData name="Asia Gandecka" userId="d4533edf-3129-4e97-a6db-54867d5d9a08" providerId="ADAL" clId="{589596F8-DEBB-4D6F-8716-DC3B8C328166}" dt="2019-04-24T21:13:28.997" v="356" actId="26606"/>
          <ac:spMkLst>
            <pc:docMk/>
            <pc:sldMk cId="2332363192" sldId="285"/>
            <ac:spMk id="57" creationId="{0006CBFD-ADA0-43D1-9332-9C34CA1C76ED}"/>
          </ac:spMkLst>
        </pc:spChg>
        <pc:spChg chg="add">
          <ac:chgData name="Asia Gandecka" userId="d4533edf-3129-4e97-a6db-54867d5d9a08" providerId="ADAL" clId="{589596F8-DEBB-4D6F-8716-DC3B8C328166}" dt="2019-04-24T21:13:28.997" v="356" actId="26606"/>
          <ac:spMkLst>
            <pc:docMk/>
            <pc:sldMk cId="2332363192" sldId="285"/>
            <ac:spMk id="59" creationId="{2B931666-F28F-45F3-A074-66D2272D580B}"/>
          </ac:spMkLst>
        </pc:spChg>
        <pc:grpChg chg="add del">
          <ac:chgData name="Asia Gandecka" userId="d4533edf-3129-4e97-a6db-54867d5d9a08" providerId="ADAL" clId="{589596F8-DEBB-4D6F-8716-DC3B8C328166}" dt="2019-04-24T21:13:17.875" v="355" actId="26606"/>
          <ac:grpSpMkLst>
            <pc:docMk/>
            <pc:sldMk cId="2332363192" sldId="285"/>
            <ac:grpSpMk id="31" creationId="{5E208A8B-5EBD-4532-BE72-26414FA7CFF6}"/>
          </ac:grpSpMkLst>
        </pc:grpChg>
        <pc:grpChg chg="add del">
          <ac:chgData name="Asia Gandecka" userId="d4533edf-3129-4e97-a6db-54867d5d9a08" providerId="ADAL" clId="{589596F8-DEBB-4D6F-8716-DC3B8C328166}" dt="2019-04-24T21:13:28.997" v="356" actId="26606"/>
          <ac:grpSpMkLst>
            <pc:docMk/>
            <pc:sldMk cId="2332363192" sldId="285"/>
            <ac:grpSpMk id="41" creationId="{D2C4BFA1-2075-4901-9E24-E41D1FDD51FD}"/>
          </ac:grpSpMkLst>
        </pc:grpChg>
        <pc:cxnChg chg="add del">
          <ac:chgData name="Asia Gandecka" userId="d4533edf-3129-4e97-a6db-54867d5d9a08" providerId="ADAL" clId="{589596F8-DEBB-4D6F-8716-DC3B8C328166}" dt="2019-04-24T21:13:00.340" v="353" actId="26606"/>
          <ac:cxnSpMkLst>
            <pc:docMk/>
            <pc:sldMk cId="2332363192" sldId="285"/>
            <ac:cxnSpMk id="17" creationId="{9E8E38ED-369A-44C2-B635-0BED0E48A6E8}"/>
          </ac:cxnSpMkLst>
        </pc:cxnChg>
      </pc:sldChg>
      <pc:sldChg chg="addSp delSp modSp add">
        <pc:chgData name="Asia Gandecka" userId="d4533edf-3129-4e97-a6db-54867d5d9a08" providerId="ADAL" clId="{589596F8-DEBB-4D6F-8716-DC3B8C328166}" dt="2019-04-24T02:14:57.565" v="122" actId="403"/>
        <pc:sldMkLst>
          <pc:docMk/>
          <pc:sldMk cId="2707495431" sldId="307"/>
        </pc:sldMkLst>
        <pc:spChg chg="add del mod">
          <ac:chgData name="Asia Gandecka" userId="d4533edf-3129-4e97-a6db-54867d5d9a08" providerId="ADAL" clId="{589596F8-DEBB-4D6F-8716-DC3B8C328166}" dt="2019-04-24T02:01:36.132" v="44" actId="478"/>
          <ac:spMkLst>
            <pc:docMk/>
            <pc:sldMk cId="2707495431" sldId="307"/>
            <ac:spMk id="2" creationId="{835CB957-D463-4E42-AB4E-CE8BD27141AD}"/>
          </ac:spMkLst>
        </pc:spChg>
        <pc:spChg chg="add del mod">
          <ac:chgData name="Asia Gandecka" userId="d4533edf-3129-4e97-a6db-54867d5d9a08" providerId="ADAL" clId="{589596F8-DEBB-4D6F-8716-DC3B8C328166}" dt="2019-04-24T02:14:43.053" v="120" actId="478"/>
          <ac:spMkLst>
            <pc:docMk/>
            <pc:sldMk cId="2707495431" sldId="307"/>
            <ac:spMk id="7" creationId="{7B5BF4EE-B58F-4C9D-A98C-219163008265}"/>
          </ac:spMkLst>
        </pc:spChg>
        <pc:spChg chg="mod">
          <ac:chgData name="Asia Gandecka" userId="d4533edf-3129-4e97-a6db-54867d5d9a08" providerId="ADAL" clId="{589596F8-DEBB-4D6F-8716-DC3B8C328166}" dt="2019-04-24T02:14:57.565" v="122" actId="403"/>
          <ac:spMkLst>
            <pc:docMk/>
            <pc:sldMk cId="2707495431" sldId="307"/>
            <ac:spMk id="17" creationId="{977E58EE-870A-41BD-84B1-6CB592992463}"/>
          </ac:spMkLst>
        </pc:spChg>
      </pc:sldChg>
      <pc:sldChg chg="addSp delSp modSp add modTransition">
        <pc:chgData name="Asia Gandecka" userId="d4533edf-3129-4e97-a6db-54867d5d9a08" providerId="ADAL" clId="{589596F8-DEBB-4D6F-8716-DC3B8C328166}" dt="2019-04-24T21:24:25.382" v="465" actId="1035"/>
        <pc:sldMkLst>
          <pc:docMk/>
          <pc:sldMk cId="2310307256" sldId="355"/>
        </pc:sldMkLst>
        <pc:spChg chg="add mod">
          <ac:chgData name="Asia Gandecka" userId="d4533edf-3129-4e97-a6db-54867d5d9a08" providerId="ADAL" clId="{589596F8-DEBB-4D6F-8716-DC3B8C328166}" dt="2019-04-24T21:09:01.086" v="331" actId="20577"/>
          <ac:spMkLst>
            <pc:docMk/>
            <pc:sldMk cId="2310307256" sldId="355"/>
            <ac:spMk id="2" creationId="{397773D6-C87F-458F-A31A-A80110C62403}"/>
          </ac:spMkLst>
        </pc:spChg>
        <pc:spChg chg="add del mod">
          <ac:chgData name="Asia Gandecka" userId="d4533edf-3129-4e97-a6db-54867d5d9a08" providerId="ADAL" clId="{589596F8-DEBB-4D6F-8716-DC3B8C328166}" dt="2019-04-24T21:08:53.351" v="317" actId="478"/>
          <ac:spMkLst>
            <pc:docMk/>
            <pc:sldMk cId="2310307256" sldId="355"/>
            <ac:spMk id="3" creationId="{755D0C52-F5CF-4FF2-9069-363C2A04D521}"/>
          </ac:spMkLst>
        </pc:spChg>
        <pc:spChg chg="mod">
          <ac:chgData name="Asia Gandecka" userId="d4533edf-3129-4e97-a6db-54867d5d9a08" providerId="ADAL" clId="{589596F8-DEBB-4D6F-8716-DC3B8C328166}" dt="2019-04-24T21:22:49.880" v="431" actId="403"/>
          <ac:spMkLst>
            <pc:docMk/>
            <pc:sldMk cId="2310307256" sldId="355"/>
            <ac:spMk id="6" creationId="{00000000-0000-0000-0000-000000000000}"/>
          </ac:spMkLst>
        </pc:spChg>
        <pc:spChg chg="mod">
          <ac:chgData name="Asia Gandecka" userId="d4533edf-3129-4e97-a6db-54867d5d9a08" providerId="ADAL" clId="{589596F8-DEBB-4D6F-8716-DC3B8C328166}" dt="2019-04-24T21:23:02.834" v="440" actId="403"/>
          <ac:spMkLst>
            <pc:docMk/>
            <pc:sldMk cId="2310307256" sldId="355"/>
            <ac:spMk id="17" creationId="{00000000-0000-0000-0000-000000000000}"/>
          </ac:spMkLst>
        </pc:spChg>
        <pc:spChg chg="mod">
          <ac:chgData name="Asia Gandecka" userId="d4533edf-3129-4e97-a6db-54867d5d9a08" providerId="ADAL" clId="{589596F8-DEBB-4D6F-8716-DC3B8C328166}" dt="2019-04-24T21:23:27.510" v="447" actId="1076"/>
          <ac:spMkLst>
            <pc:docMk/>
            <pc:sldMk cId="2310307256" sldId="355"/>
            <ac:spMk id="20" creationId="{00000000-0000-0000-0000-000000000000}"/>
          </ac:spMkLst>
        </pc:spChg>
        <pc:spChg chg="mod">
          <ac:chgData name="Asia Gandecka" userId="d4533edf-3129-4e97-a6db-54867d5d9a08" providerId="ADAL" clId="{589596F8-DEBB-4D6F-8716-DC3B8C328166}" dt="2019-04-24T21:23:41.398" v="449" actId="1035"/>
          <ac:spMkLst>
            <pc:docMk/>
            <pc:sldMk cId="2310307256" sldId="355"/>
            <ac:spMk id="21" creationId="{00000000-0000-0000-0000-000000000000}"/>
          </ac:spMkLst>
        </pc:spChg>
        <pc:spChg chg="mod">
          <ac:chgData name="Asia Gandecka" userId="d4533edf-3129-4e97-a6db-54867d5d9a08" providerId="ADAL" clId="{589596F8-DEBB-4D6F-8716-DC3B8C328166}" dt="2019-04-24T21:22:43.953" v="428" actId="403"/>
          <ac:spMkLst>
            <pc:docMk/>
            <pc:sldMk cId="2310307256" sldId="355"/>
            <ac:spMk id="23" creationId="{00000000-0000-0000-0000-000000000000}"/>
          </ac:spMkLst>
        </pc:spChg>
        <pc:spChg chg="mod">
          <ac:chgData name="Asia Gandecka" userId="d4533edf-3129-4e97-a6db-54867d5d9a08" providerId="ADAL" clId="{589596F8-DEBB-4D6F-8716-DC3B8C328166}" dt="2019-04-24T21:22:54.322" v="434" actId="403"/>
          <ac:spMkLst>
            <pc:docMk/>
            <pc:sldMk cId="2310307256" sldId="355"/>
            <ac:spMk id="26" creationId="{00000000-0000-0000-0000-000000000000}"/>
          </ac:spMkLst>
        </pc:spChg>
        <pc:spChg chg="del">
          <ac:chgData name="Asia Gandecka" userId="d4533edf-3129-4e97-a6db-54867d5d9a08" providerId="ADAL" clId="{589596F8-DEBB-4D6F-8716-DC3B8C328166}" dt="2019-04-24T21:09:06.402" v="332" actId="478"/>
          <ac:spMkLst>
            <pc:docMk/>
            <pc:sldMk cId="2310307256" sldId="355"/>
            <ac:spMk id="28" creationId="{00000000-0000-0000-0000-000000000000}"/>
          </ac:spMkLst>
        </pc:spChg>
        <pc:grpChg chg="mod">
          <ac:chgData name="Asia Gandecka" userId="d4533edf-3129-4e97-a6db-54867d5d9a08" providerId="ADAL" clId="{589596F8-DEBB-4D6F-8716-DC3B8C328166}" dt="2019-04-24T21:24:25.382" v="465" actId="1035"/>
          <ac:grpSpMkLst>
            <pc:docMk/>
            <pc:sldMk cId="2310307256" sldId="355"/>
            <ac:grpSpMk id="5" creationId="{00000000-0000-0000-0000-000000000000}"/>
          </ac:grpSpMkLst>
        </pc:grpChg>
        <pc:grpChg chg="mod">
          <ac:chgData name="Asia Gandecka" userId="d4533edf-3129-4e97-a6db-54867d5d9a08" providerId="ADAL" clId="{589596F8-DEBB-4D6F-8716-DC3B8C328166}" dt="2019-04-24T21:24:06.285" v="458" actId="1035"/>
          <ac:grpSpMkLst>
            <pc:docMk/>
            <pc:sldMk cId="2310307256" sldId="355"/>
            <ac:grpSpMk id="16" creationId="{00000000-0000-0000-0000-000000000000}"/>
          </ac:grpSpMkLst>
        </pc:grpChg>
        <pc:grpChg chg="mod">
          <ac:chgData name="Asia Gandecka" userId="d4533edf-3129-4e97-a6db-54867d5d9a08" providerId="ADAL" clId="{589596F8-DEBB-4D6F-8716-DC3B8C328166}" dt="2019-04-24T21:23:58.432" v="454" actId="1035"/>
          <ac:grpSpMkLst>
            <pc:docMk/>
            <pc:sldMk cId="2310307256" sldId="355"/>
            <ac:grpSpMk id="19" creationId="{00000000-0000-0000-0000-000000000000}"/>
          </ac:grpSpMkLst>
        </pc:grpChg>
        <pc:grpChg chg="mod">
          <ac:chgData name="Asia Gandecka" userId="d4533edf-3129-4e97-a6db-54867d5d9a08" providerId="ADAL" clId="{589596F8-DEBB-4D6F-8716-DC3B8C328166}" dt="2019-04-24T21:24:13.614" v="461" actId="1035"/>
          <ac:grpSpMkLst>
            <pc:docMk/>
            <pc:sldMk cId="2310307256" sldId="355"/>
            <ac:grpSpMk id="22" creationId="{00000000-0000-0000-0000-000000000000}"/>
          </ac:grpSpMkLst>
        </pc:grpChg>
        <pc:grpChg chg="mod">
          <ac:chgData name="Asia Gandecka" userId="d4533edf-3129-4e97-a6db-54867d5d9a08" providerId="ADAL" clId="{589596F8-DEBB-4D6F-8716-DC3B8C328166}" dt="2019-04-24T21:23:46.807" v="451" actId="1076"/>
          <ac:grpSpMkLst>
            <pc:docMk/>
            <pc:sldMk cId="2310307256" sldId="355"/>
            <ac:grpSpMk id="25" creationId="{00000000-0000-0000-0000-000000000000}"/>
          </ac:grpSpMkLst>
        </pc:grpChg>
      </pc:sldChg>
      <pc:sldChg chg="addSp delSp modSp add">
        <pc:chgData name="Asia Gandecka" userId="d4533edf-3129-4e97-a6db-54867d5d9a08" providerId="ADAL" clId="{589596F8-DEBB-4D6F-8716-DC3B8C328166}" dt="2019-04-24T21:21:26.225" v="419"/>
        <pc:sldMkLst>
          <pc:docMk/>
          <pc:sldMk cId="3525975785" sldId="382"/>
        </pc:sldMkLst>
        <pc:spChg chg="add del mod">
          <ac:chgData name="Asia Gandecka" userId="d4533edf-3129-4e97-a6db-54867d5d9a08" providerId="ADAL" clId="{589596F8-DEBB-4D6F-8716-DC3B8C328166}" dt="2019-04-24T21:21:26.225" v="419"/>
          <ac:spMkLst>
            <pc:docMk/>
            <pc:sldMk cId="3525975785" sldId="382"/>
            <ac:spMk id="3" creationId="{96D2062E-525E-4811-8E74-0FC90579E036}"/>
          </ac:spMkLst>
        </pc:spChg>
        <pc:spChg chg="add del mod">
          <ac:chgData name="Asia Gandecka" userId="d4533edf-3129-4e97-a6db-54867d5d9a08" providerId="ADAL" clId="{589596F8-DEBB-4D6F-8716-DC3B8C328166}" dt="2019-04-24T21:21:26.225" v="419"/>
          <ac:spMkLst>
            <pc:docMk/>
            <pc:sldMk cId="3525975785" sldId="382"/>
            <ac:spMk id="5" creationId="{DF4781A3-18C0-47DC-9C1C-41B17A9CC888}"/>
          </ac:spMkLst>
        </pc:spChg>
        <pc:spChg chg="add mod">
          <ac:chgData name="Asia Gandecka" userId="d4533edf-3129-4e97-a6db-54867d5d9a08" providerId="ADAL" clId="{589596F8-DEBB-4D6F-8716-DC3B8C328166}" dt="2019-04-24T21:21:26.225" v="419"/>
          <ac:spMkLst>
            <pc:docMk/>
            <pc:sldMk cId="3525975785" sldId="382"/>
            <ac:spMk id="9" creationId="{BCAECFBF-C75F-4442-B75C-B521621A1D7B}"/>
          </ac:spMkLst>
        </pc:spChg>
      </pc:sldChg>
      <pc:sldChg chg="addSp delSp modSp add ord modTransition">
        <pc:chgData name="Asia Gandecka" userId="d4533edf-3129-4e97-a6db-54867d5d9a08" providerId="ADAL" clId="{589596F8-DEBB-4D6F-8716-DC3B8C328166}" dt="2019-04-24T21:13:51.325" v="359"/>
        <pc:sldMkLst>
          <pc:docMk/>
          <pc:sldMk cId="2750993272" sldId="399"/>
        </pc:sldMkLst>
        <pc:spChg chg="mod">
          <ac:chgData name="Asia Gandecka" userId="d4533edf-3129-4e97-a6db-54867d5d9a08" providerId="ADAL" clId="{589596F8-DEBB-4D6F-8716-DC3B8C328166}" dt="2019-04-24T02:18:49.998" v="162" actId="14100"/>
          <ac:spMkLst>
            <pc:docMk/>
            <pc:sldMk cId="2750993272" sldId="399"/>
            <ac:spMk id="2" creationId="{00000000-0000-0000-0000-000000000000}"/>
          </ac:spMkLst>
        </pc:spChg>
        <pc:spChg chg="add del mod">
          <ac:chgData name="Asia Gandecka" userId="d4533edf-3129-4e97-a6db-54867d5d9a08" providerId="ADAL" clId="{589596F8-DEBB-4D6F-8716-DC3B8C328166}" dt="2019-04-24T02:18:13.316" v="150"/>
          <ac:spMkLst>
            <pc:docMk/>
            <pc:sldMk cId="2750993272" sldId="399"/>
            <ac:spMk id="3" creationId="{95563974-8022-4BCE-82B3-928834C73095}"/>
          </ac:spMkLst>
        </pc:spChg>
        <pc:spChg chg="add del mod">
          <ac:chgData name="Asia Gandecka" userId="d4533edf-3129-4e97-a6db-54867d5d9a08" providerId="ADAL" clId="{589596F8-DEBB-4D6F-8716-DC3B8C328166}" dt="2019-04-24T02:18:13.316" v="150"/>
          <ac:spMkLst>
            <pc:docMk/>
            <pc:sldMk cId="2750993272" sldId="399"/>
            <ac:spMk id="5" creationId="{545FB496-BA22-415E-B371-1F157B35F514}"/>
          </ac:spMkLst>
        </pc:spChg>
        <pc:spChg chg="del mod">
          <ac:chgData name="Asia Gandecka" userId="d4533edf-3129-4e97-a6db-54867d5d9a08" providerId="ADAL" clId="{589596F8-DEBB-4D6F-8716-DC3B8C328166}" dt="2019-04-24T02:18:18.254" v="152" actId="478"/>
          <ac:spMkLst>
            <pc:docMk/>
            <pc:sldMk cId="2750993272" sldId="399"/>
            <ac:spMk id="6" creationId="{DBE1751E-DA8E-4B7B-8249-3AD0336A8D49}"/>
          </ac:spMkLst>
        </pc:spChg>
        <pc:spChg chg="add del mod">
          <ac:chgData name="Asia Gandecka" userId="d4533edf-3129-4e97-a6db-54867d5d9a08" providerId="ADAL" clId="{589596F8-DEBB-4D6F-8716-DC3B8C328166}" dt="2019-04-24T02:18:15.975" v="151" actId="478"/>
          <ac:spMkLst>
            <pc:docMk/>
            <pc:sldMk cId="2750993272" sldId="399"/>
            <ac:spMk id="7" creationId="{6C3D9139-8C9B-417B-9CD8-F8A3B6C5280A}"/>
          </ac:spMkLst>
        </pc:spChg>
        <pc:spChg chg="add del mod">
          <ac:chgData name="Asia Gandecka" userId="d4533edf-3129-4e97-a6db-54867d5d9a08" providerId="ADAL" clId="{589596F8-DEBB-4D6F-8716-DC3B8C328166}" dt="2019-04-24T02:18:19.444" v="153"/>
          <ac:spMkLst>
            <pc:docMk/>
            <pc:sldMk cId="2750993272" sldId="399"/>
            <ac:spMk id="8" creationId="{BDF51953-B50C-40FA-B41B-B900A1ABE03F}"/>
          </ac:spMkLst>
        </pc:spChg>
        <pc:spChg chg="add mod">
          <ac:chgData name="Asia Gandecka" userId="d4533edf-3129-4e97-a6db-54867d5d9a08" providerId="ADAL" clId="{589596F8-DEBB-4D6F-8716-DC3B8C328166}" dt="2019-04-24T02:18:22.039" v="154"/>
          <ac:spMkLst>
            <pc:docMk/>
            <pc:sldMk cId="2750993272" sldId="399"/>
            <ac:spMk id="9" creationId="{CFA559AD-4C6A-43CC-BEFA-3713581D3866}"/>
          </ac:spMkLst>
        </pc:spChg>
        <pc:spChg chg="add del mod">
          <ac:chgData name="Asia Gandecka" userId="d4533edf-3129-4e97-a6db-54867d5d9a08" providerId="ADAL" clId="{589596F8-DEBB-4D6F-8716-DC3B8C328166}" dt="2019-04-24T02:18:23.576" v="155"/>
          <ac:spMkLst>
            <pc:docMk/>
            <pc:sldMk cId="2750993272" sldId="399"/>
            <ac:spMk id="10" creationId="{EAF65E13-650D-4F93-A864-491A063EB982}"/>
          </ac:spMkLst>
        </pc:spChg>
        <pc:spChg chg="add del mod">
          <ac:chgData name="Asia Gandecka" userId="d4533edf-3129-4e97-a6db-54867d5d9a08" providerId="ADAL" clId="{589596F8-DEBB-4D6F-8716-DC3B8C328166}" dt="2019-04-24T02:18:23.576" v="155"/>
          <ac:spMkLst>
            <pc:docMk/>
            <pc:sldMk cId="2750993272" sldId="399"/>
            <ac:spMk id="11" creationId="{FE5D9255-51FE-4DE2-B740-7C2DB6DA482E}"/>
          </ac:spMkLst>
        </pc:spChg>
        <pc:picChg chg="mod">
          <ac:chgData name="Asia Gandecka" userId="d4533edf-3129-4e97-a6db-54867d5d9a08" providerId="ADAL" clId="{589596F8-DEBB-4D6F-8716-DC3B8C328166}" dt="2019-04-24T02:18:52.368" v="163" actId="1076"/>
          <ac:picMkLst>
            <pc:docMk/>
            <pc:sldMk cId="2750993272" sldId="399"/>
            <ac:picMk id="4" creationId="{00000000-0000-0000-0000-000000000000}"/>
          </ac:picMkLst>
        </pc:picChg>
      </pc:sldChg>
      <pc:sldChg chg="addSp delSp modSp add del ord">
        <pc:chgData name="Asia Gandecka" userId="d4533edf-3129-4e97-a6db-54867d5d9a08" providerId="ADAL" clId="{589596F8-DEBB-4D6F-8716-DC3B8C328166}" dt="2019-04-24T21:18:30.557" v="398"/>
        <pc:sldMkLst>
          <pc:docMk/>
          <pc:sldMk cId="3716265243" sldId="1966"/>
        </pc:sldMkLst>
        <pc:spChg chg="add mod">
          <ac:chgData name="Asia Gandecka" userId="d4533edf-3129-4e97-a6db-54867d5d9a08" providerId="ADAL" clId="{589596F8-DEBB-4D6F-8716-DC3B8C328166}" dt="2019-04-24T21:17:50.053" v="393" actId="20577"/>
          <ac:spMkLst>
            <pc:docMk/>
            <pc:sldMk cId="3716265243" sldId="1966"/>
            <ac:spMk id="2" creationId="{C962C15F-95E3-481D-A0CF-AE6555E28DA2}"/>
          </ac:spMkLst>
        </pc:spChg>
        <pc:spChg chg="add del mod">
          <ac:chgData name="Asia Gandecka" userId="d4533edf-3129-4e97-a6db-54867d5d9a08" providerId="ADAL" clId="{589596F8-DEBB-4D6F-8716-DC3B8C328166}" dt="2019-04-24T02:19:14.529" v="168" actId="478"/>
          <ac:spMkLst>
            <pc:docMk/>
            <pc:sldMk cId="3716265243" sldId="1966"/>
            <ac:spMk id="3" creationId="{771A2180-4B8C-46C0-B6CA-E003299E3976}"/>
          </ac:spMkLst>
        </pc:spChg>
        <pc:spChg chg="add del mod">
          <ac:chgData name="Asia Gandecka" userId="d4533edf-3129-4e97-a6db-54867d5d9a08" providerId="ADAL" clId="{589596F8-DEBB-4D6F-8716-DC3B8C328166}" dt="2019-04-24T02:19:21.146" v="170"/>
          <ac:spMkLst>
            <pc:docMk/>
            <pc:sldMk cId="3716265243" sldId="1966"/>
            <ac:spMk id="4" creationId="{506960D1-5AA8-4669-AEC0-2304B5C198F2}"/>
          </ac:spMkLst>
        </pc:spChg>
        <pc:spChg chg="add mod">
          <ac:chgData name="Asia Gandecka" userId="d4533edf-3129-4e97-a6db-54867d5d9a08" providerId="ADAL" clId="{589596F8-DEBB-4D6F-8716-DC3B8C328166}" dt="2019-04-24T21:18:01.507" v="396" actId="403"/>
          <ac:spMkLst>
            <pc:docMk/>
            <pc:sldMk cId="3716265243" sldId="1966"/>
            <ac:spMk id="5" creationId="{85009BE3-B1BD-4BF5-A2F8-829617D42196}"/>
          </ac:spMkLst>
        </pc:spChg>
        <pc:spChg chg="del mod">
          <ac:chgData name="Asia Gandecka" userId="d4533edf-3129-4e97-a6db-54867d5d9a08" providerId="ADAL" clId="{589596F8-DEBB-4D6F-8716-DC3B8C328166}" dt="2019-04-24T02:19:03.707" v="165" actId="478"/>
          <ac:spMkLst>
            <pc:docMk/>
            <pc:sldMk cId="3716265243" sldId="1966"/>
            <ac:spMk id="6" creationId="{DBE1751E-DA8E-4B7B-8249-3AD0336A8D49}"/>
          </ac:spMkLst>
        </pc:spChg>
        <pc:spChg chg="del mod">
          <ac:chgData name="Asia Gandecka" userId="d4533edf-3129-4e97-a6db-54867d5d9a08" providerId="ADAL" clId="{589596F8-DEBB-4D6F-8716-DC3B8C328166}" dt="2019-04-24T02:19:24.344" v="171" actId="478"/>
          <ac:spMkLst>
            <pc:docMk/>
            <pc:sldMk cId="3716265243" sldId="1966"/>
            <ac:spMk id="7" creationId="{5744B165-0378-4740-BC35-9A111F36CCE1}"/>
          </ac:spMkLst>
        </pc:spChg>
      </pc:sldChg>
      <pc:sldChg chg="addSp delSp modSp add ord">
        <pc:chgData name="Asia Gandecka" userId="d4533edf-3129-4e97-a6db-54867d5d9a08" providerId="ADAL" clId="{589596F8-DEBB-4D6F-8716-DC3B8C328166}" dt="2019-04-24T21:18:27.231" v="397"/>
        <pc:sldMkLst>
          <pc:docMk/>
          <pc:sldMk cId="12318851" sldId="1967"/>
        </pc:sldMkLst>
        <pc:spChg chg="add mod">
          <ac:chgData name="Asia Gandecka" userId="d4533edf-3129-4e97-a6db-54867d5d9a08" providerId="ADAL" clId="{589596F8-DEBB-4D6F-8716-DC3B8C328166}" dt="2019-04-24T02:19:50.676" v="178"/>
          <ac:spMkLst>
            <pc:docMk/>
            <pc:sldMk cId="12318851" sldId="1967"/>
            <ac:spMk id="2" creationId="{4CFEDFCF-D6E0-4C86-94E6-A5411E3F1AF5}"/>
          </ac:spMkLst>
        </pc:spChg>
        <pc:spChg chg="del mod">
          <ac:chgData name="Asia Gandecka" userId="d4533edf-3129-4e97-a6db-54867d5d9a08" providerId="ADAL" clId="{589596F8-DEBB-4D6F-8716-DC3B8C328166}" dt="2019-04-24T02:19:52.201" v="179"/>
          <ac:spMkLst>
            <pc:docMk/>
            <pc:sldMk cId="12318851" sldId="1967"/>
            <ac:spMk id="3" creationId="{29F901A6-07D7-4455-959E-35D7640D1683}"/>
          </ac:spMkLst>
        </pc:spChg>
        <pc:spChg chg="add del mod">
          <ac:chgData name="Asia Gandecka" userId="d4533edf-3129-4e97-a6db-54867d5d9a08" providerId="ADAL" clId="{589596F8-DEBB-4D6F-8716-DC3B8C328166}" dt="2019-04-24T02:19:52.201" v="179"/>
          <ac:spMkLst>
            <pc:docMk/>
            <pc:sldMk cId="12318851" sldId="1967"/>
            <ac:spMk id="4" creationId="{6E4C48EA-5CC8-405A-AFA9-9C3B7A813B60}"/>
          </ac:spMkLst>
        </pc:spChg>
        <pc:spChg chg="add del mod">
          <ac:chgData name="Asia Gandecka" userId="d4533edf-3129-4e97-a6db-54867d5d9a08" providerId="ADAL" clId="{589596F8-DEBB-4D6F-8716-DC3B8C328166}" dt="2019-04-24T02:19:56.042" v="180" actId="478"/>
          <ac:spMkLst>
            <pc:docMk/>
            <pc:sldMk cId="12318851" sldId="1967"/>
            <ac:spMk id="7" creationId="{AEF66368-9331-4DC7-A486-654E6333FBC2}"/>
          </ac:spMkLst>
        </pc:spChg>
      </pc:sldChg>
      <pc:sldChg chg="addSp delSp modSp add del ord modTransition setBg">
        <pc:chgData name="Asia Gandecka" userId="d4533edf-3129-4e97-a6db-54867d5d9a08" providerId="ADAL" clId="{589596F8-DEBB-4D6F-8716-DC3B8C328166}" dt="2019-04-24T21:27:02.316" v="574"/>
        <pc:sldMkLst>
          <pc:docMk/>
          <pc:sldMk cId="2363988451" sldId="1975"/>
        </pc:sldMkLst>
        <pc:spChg chg="del mod">
          <ac:chgData name="Asia Gandecka" userId="d4533edf-3129-4e97-a6db-54867d5d9a08" providerId="ADAL" clId="{589596F8-DEBB-4D6F-8716-DC3B8C328166}" dt="2019-04-24T02:03:04.896" v="64"/>
          <ac:spMkLst>
            <pc:docMk/>
            <pc:sldMk cId="2363988451" sldId="1975"/>
            <ac:spMk id="2" creationId="{D9534BC7-05AD-4B7D-A985-8EB1750A4BB2}"/>
          </ac:spMkLst>
        </pc:spChg>
        <pc:spChg chg="del mod">
          <ac:chgData name="Asia Gandecka" userId="d4533edf-3129-4e97-a6db-54867d5d9a08" providerId="ADAL" clId="{589596F8-DEBB-4D6F-8716-DC3B8C328166}" dt="2019-04-24T02:03:15.021" v="66" actId="478"/>
          <ac:spMkLst>
            <pc:docMk/>
            <pc:sldMk cId="2363988451" sldId="1975"/>
            <ac:spMk id="3" creationId="{8D517C9B-99CA-4197-8DF8-EC9F6BC52B31}"/>
          </ac:spMkLst>
        </pc:spChg>
        <pc:spChg chg="add mod">
          <ac:chgData name="Asia Gandecka" userId="d4533edf-3129-4e97-a6db-54867d5d9a08" providerId="ADAL" clId="{589596F8-DEBB-4D6F-8716-DC3B8C328166}" dt="2019-04-24T02:02:58.989" v="63" actId="20577"/>
          <ac:spMkLst>
            <pc:docMk/>
            <pc:sldMk cId="2363988451" sldId="1975"/>
            <ac:spMk id="4" creationId="{CFC532B9-1692-43B5-938B-BB438AC5343F}"/>
          </ac:spMkLst>
        </pc:spChg>
        <pc:spChg chg="add mod">
          <ac:chgData name="Asia Gandecka" userId="d4533edf-3129-4e97-a6db-54867d5d9a08" providerId="ADAL" clId="{589596F8-DEBB-4D6F-8716-DC3B8C328166}" dt="2019-04-24T02:03:26.027" v="70" actId="6549"/>
          <ac:spMkLst>
            <pc:docMk/>
            <pc:sldMk cId="2363988451" sldId="1975"/>
            <ac:spMk id="5" creationId="{E6DD22F5-FCD1-4626-9B8E-858520FA2A89}"/>
          </ac:spMkLst>
        </pc:spChg>
      </pc:sldChg>
      <pc:sldChg chg="addSp delSp modSp add modNotes modNotesTx">
        <pc:chgData name="Asia Gandecka" userId="d4533edf-3129-4e97-a6db-54867d5d9a08" providerId="ADAL" clId="{589596F8-DEBB-4D6F-8716-DC3B8C328166}" dt="2019-04-24T22:18:01.761" v="1715"/>
        <pc:sldMkLst>
          <pc:docMk/>
          <pc:sldMk cId="1831265177" sldId="1990"/>
        </pc:sldMkLst>
        <pc:spChg chg="mod">
          <ac:chgData name="Asia Gandecka" userId="d4533edf-3129-4e97-a6db-54867d5d9a08" providerId="ADAL" clId="{589596F8-DEBB-4D6F-8716-DC3B8C328166}" dt="2019-04-24T22:11:53.990" v="1469" actId="313"/>
          <ac:spMkLst>
            <pc:docMk/>
            <pc:sldMk cId="1831265177" sldId="1990"/>
            <ac:spMk id="2" creationId="{00000000-0000-0000-0000-000000000000}"/>
          </ac:spMkLst>
        </pc:spChg>
        <pc:spChg chg="mod">
          <ac:chgData name="Asia Gandecka" userId="d4533edf-3129-4e97-a6db-54867d5d9a08" providerId="ADAL" clId="{589596F8-DEBB-4D6F-8716-DC3B8C328166}" dt="2019-04-24T22:18:01.761" v="1715"/>
          <ac:spMkLst>
            <pc:docMk/>
            <pc:sldMk cId="1831265177" sldId="1990"/>
            <ac:spMk id="3" creationId="{00000000-0000-0000-0000-000000000000}"/>
          </ac:spMkLst>
        </pc:spChg>
        <pc:spChg chg="add del mod">
          <ac:chgData name="Asia Gandecka" userId="d4533edf-3129-4e97-a6db-54867d5d9a08" providerId="ADAL" clId="{589596F8-DEBB-4D6F-8716-DC3B8C328166}" dt="2019-04-24T22:12:56.046" v="1521"/>
          <ac:spMkLst>
            <pc:docMk/>
            <pc:sldMk cId="1831265177" sldId="1990"/>
            <ac:spMk id="4" creationId="{9A9BC6C5-4F6B-48AD-90F1-778B4FC79B2B}"/>
          </ac:spMkLst>
        </pc:spChg>
        <pc:spChg chg="add del mod">
          <ac:chgData name="Asia Gandecka" userId="d4533edf-3129-4e97-a6db-54867d5d9a08" providerId="ADAL" clId="{589596F8-DEBB-4D6F-8716-DC3B8C328166}" dt="2019-04-24T22:12:56.046" v="1521"/>
          <ac:spMkLst>
            <pc:docMk/>
            <pc:sldMk cId="1831265177" sldId="1990"/>
            <ac:spMk id="5" creationId="{49AA8776-03D7-4E62-A9E6-EABCF97DD431}"/>
          </ac:spMkLst>
        </pc:spChg>
        <pc:spChg chg="add del mod">
          <ac:chgData name="Asia Gandecka" userId="d4533edf-3129-4e97-a6db-54867d5d9a08" providerId="ADAL" clId="{589596F8-DEBB-4D6F-8716-DC3B8C328166}" dt="2019-04-24T22:14:24.717" v="1622"/>
          <ac:spMkLst>
            <pc:docMk/>
            <pc:sldMk cId="1831265177" sldId="1990"/>
            <ac:spMk id="6" creationId="{76D62380-A6AA-417B-AD7D-D48D4D7FF525}"/>
          </ac:spMkLst>
        </pc:spChg>
        <pc:spChg chg="add del mod">
          <ac:chgData name="Asia Gandecka" userId="d4533edf-3129-4e97-a6db-54867d5d9a08" providerId="ADAL" clId="{589596F8-DEBB-4D6F-8716-DC3B8C328166}" dt="2019-04-24T22:14:24.717" v="1622"/>
          <ac:spMkLst>
            <pc:docMk/>
            <pc:sldMk cId="1831265177" sldId="1990"/>
            <ac:spMk id="7" creationId="{0D934A69-9FA0-41C3-B679-61D53469DBBB}"/>
          </ac:spMkLst>
        </pc:spChg>
      </pc:sldChg>
      <pc:sldMasterChg chg="delSldLayout">
        <pc:chgData name="Asia Gandecka" userId="d4533edf-3129-4e97-a6db-54867d5d9a08" providerId="ADAL" clId="{589596F8-DEBB-4D6F-8716-DC3B8C328166}" dt="2019-04-24T21:22:34.615" v="425" actId="2696"/>
        <pc:sldMasterMkLst>
          <pc:docMk/>
          <pc:sldMasterMk cId="1150004912" sldId="2147484275"/>
        </pc:sldMasterMkLst>
      </pc:sldMasterChg>
    </pc:docChg>
  </pc:docChgLst>
  <pc:docChgLst>
    <pc:chgData name="Alison Yeh" userId="S::alye@microsoft.com::86d98d7c-5861-42c0-9426-3e74a9b3ea79" providerId="AD" clId="Web-{2DA1ED2F-1923-72E6-6169-F36FDC63ED89}"/>
    <pc:docChg chg="modSld">
      <pc:chgData name="Alison Yeh" userId="S::alye@microsoft.com::86d98d7c-5861-42c0-9426-3e74a9b3ea79" providerId="AD" clId="Web-{2DA1ED2F-1923-72E6-6169-F36FDC63ED89}" dt="2020-11-03T02:08:21.512" v="1" actId="20577"/>
      <pc:docMkLst>
        <pc:docMk/>
      </pc:docMkLst>
      <pc:sldChg chg="modSp">
        <pc:chgData name="Alison Yeh" userId="S::alye@microsoft.com::86d98d7c-5861-42c0-9426-3e74a9b3ea79" providerId="AD" clId="Web-{2DA1ED2F-1923-72E6-6169-F36FDC63ED89}" dt="2020-11-03T02:08:21.512" v="1" actId="20577"/>
        <pc:sldMkLst>
          <pc:docMk/>
          <pc:sldMk cId="1325058836" sldId="256"/>
        </pc:sldMkLst>
        <pc:spChg chg="mod">
          <ac:chgData name="Alison Yeh" userId="S::alye@microsoft.com::86d98d7c-5861-42c0-9426-3e74a9b3ea79" providerId="AD" clId="Web-{2DA1ED2F-1923-72E6-6169-F36FDC63ED89}" dt="2020-11-03T02:08:21.512" v="1" actId="20577"/>
          <ac:spMkLst>
            <pc:docMk/>
            <pc:sldMk cId="1325058836" sldId="256"/>
            <ac:spMk id="6" creationId="{00000000-0000-0000-0000-000000000000}"/>
          </ac:spMkLst>
        </pc:spChg>
      </pc:sldChg>
    </pc:docChg>
  </pc:docChgLst>
  <pc:docChgLst>
    <pc:chgData name="Rishabh Mathur" userId="S::rimathur@microsoft.com::085a90ad-ff62-452d-9cc6-fb668aecc57d" providerId="AD" clId="Web-{ABF2BF3D-F3E5-B830-4874-4648D3EBD662}"/>
    <pc:docChg chg="">
      <pc:chgData name="Rishabh Mathur" userId="S::rimathur@microsoft.com::085a90ad-ff62-452d-9cc6-fb668aecc57d" providerId="AD" clId="Web-{ABF2BF3D-F3E5-B830-4874-4648D3EBD662}" dt="2021-10-12T18:40:37.636" v="0"/>
      <pc:docMkLst>
        <pc:docMk/>
      </pc:docMkLst>
      <pc:sldChg chg="addCm">
        <pc:chgData name="Rishabh Mathur" userId="S::rimathur@microsoft.com::085a90ad-ff62-452d-9cc6-fb668aecc57d" providerId="AD" clId="Web-{ABF2BF3D-F3E5-B830-4874-4648D3EBD662}" dt="2021-10-12T18:40:37.636" v="0"/>
        <pc:sldMkLst>
          <pc:docMk/>
          <pc:sldMk cId="497597664" sldId="2023"/>
        </pc:sldMkLst>
      </pc:sldChg>
    </pc:docChg>
  </pc:docChgLst>
  <pc:docChgLst>
    <pc:chgData name="Ethan Irons" userId="6f6e2f01-ea19-4a4a-bc47-1e970a349fc0" providerId="ADAL" clId="{736B6DD7-A88B-4DCC-91F4-88CF7808EAD3}"/>
    <pc:docChg chg="modSld">
      <pc:chgData name="Ethan Irons" userId="6f6e2f01-ea19-4a4a-bc47-1e970a349fc0" providerId="ADAL" clId="{736B6DD7-A88B-4DCC-91F4-88CF7808EAD3}" dt="2023-01-10T14:43:18.266" v="0" actId="729"/>
      <pc:docMkLst>
        <pc:docMk/>
      </pc:docMkLst>
      <pc:sldChg chg="mod modShow">
        <pc:chgData name="Ethan Irons" userId="6f6e2f01-ea19-4a4a-bc47-1e970a349fc0" providerId="ADAL" clId="{736B6DD7-A88B-4DCC-91F4-88CF7808EAD3}" dt="2023-01-10T14:43:18.266" v="0" actId="729"/>
        <pc:sldMkLst>
          <pc:docMk/>
          <pc:sldMk cId="1726115058" sldId="2006"/>
        </pc:sldMkLst>
      </pc:sldChg>
    </pc:docChg>
  </pc:docChgLst>
  <pc:docChgLst>
    <pc:chgData name="Ethan Irons" userId="S::etirons@microsoft.com::6f6e2f01-ea19-4a4a-bc47-1e970a349fc0" providerId="AD" clId="Web-{8F741557-47E3-7F47-F593-EFAAB84DE949}"/>
    <pc:docChg chg="delSld modSld">
      <pc:chgData name="Ethan Irons" userId="S::etirons@microsoft.com::6f6e2f01-ea19-4a4a-bc47-1e970a349fc0" providerId="AD" clId="Web-{8F741557-47E3-7F47-F593-EFAAB84DE949}" dt="2022-08-12T15:37:28.374" v="5"/>
      <pc:docMkLst>
        <pc:docMk/>
      </pc:docMkLst>
      <pc:sldChg chg="del">
        <pc:chgData name="Ethan Irons" userId="S::etirons@microsoft.com::6f6e2f01-ea19-4a4a-bc47-1e970a349fc0" providerId="AD" clId="Web-{8F741557-47E3-7F47-F593-EFAAB84DE949}" dt="2022-08-12T15:35:32.339" v="3"/>
        <pc:sldMkLst>
          <pc:docMk/>
          <pc:sldMk cId="1675654522" sldId="1993"/>
        </pc:sldMkLst>
      </pc:sldChg>
      <pc:sldChg chg="del mod modShow">
        <pc:chgData name="Ethan Irons" userId="S::etirons@microsoft.com::6f6e2f01-ea19-4a4a-bc47-1e970a349fc0" providerId="AD" clId="Web-{8F741557-47E3-7F47-F593-EFAAB84DE949}" dt="2022-08-12T15:35:13.667" v="2"/>
        <pc:sldMkLst>
          <pc:docMk/>
          <pc:sldMk cId="102007623" sldId="1995"/>
        </pc:sldMkLst>
      </pc:sldChg>
      <pc:sldChg chg="delSp">
        <pc:chgData name="Ethan Irons" userId="S::etirons@microsoft.com::6f6e2f01-ea19-4a4a-bc47-1e970a349fc0" providerId="AD" clId="Web-{8F741557-47E3-7F47-F593-EFAAB84DE949}" dt="2022-08-12T15:35:55.699" v="4"/>
        <pc:sldMkLst>
          <pc:docMk/>
          <pc:sldMk cId="2196428951" sldId="2008"/>
        </pc:sldMkLst>
        <pc:spChg chg="del">
          <ac:chgData name="Ethan Irons" userId="S::etirons@microsoft.com::6f6e2f01-ea19-4a4a-bc47-1e970a349fc0" providerId="AD" clId="Web-{8F741557-47E3-7F47-F593-EFAAB84DE949}" dt="2022-08-12T15:35:55.699" v="4"/>
          <ac:spMkLst>
            <pc:docMk/>
            <pc:sldMk cId="2196428951" sldId="2008"/>
            <ac:spMk id="3" creationId="{708A2066-8966-48D0-AA57-13D3E1651218}"/>
          </ac:spMkLst>
        </pc:spChg>
      </pc:sldChg>
      <pc:sldChg chg="mod modShow">
        <pc:chgData name="Ethan Irons" userId="S::etirons@microsoft.com::6f6e2f01-ea19-4a4a-bc47-1e970a349fc0" providerId="AD" clId="Web-{8F741557-47E3-7F47-F593-EFAAB84DE949}" dt="2022-08-12T15:37:28.374" v="5"/>
        <pc:sldMkLst>
          <pc:docMk/>
          <pc:sldMk cId="1185016363" sldId="2014"/>
        </pc:sldMkLst>
      </pc:sldChg>
    </pc:docChg>
  </pc:docChgLst>
  <pc:docChgLst>
    <pc:chgData name="Guest User" providerId="Windows Live" clId="Web-{5EFA045C-EA64-4E13-893D-6A527BD8F466}"/>
    <pc:docChg chg="modSld">
      <pc:chgData name="Guest User" userId="" providerId="Windows Live" clId="Web-{5EFA045C-EA64-4E13-893D-6A527BD8F466}" dt="2020-08-23T21:57:07.534" v="5"/>
      <pc:docMkLst>
        <pc:docMk/>
      </pc:docMkLst>
      <pc:sldChg chg="modSp">
        <pc:chgData name="Guest User" userId="" providerId="Windows Live" clId="Web-{5EFA045C-EA64-4E13-893D-6A527BD8F466}" dt="2020-08-23T21:57:07.534" v="5"/>
        <pc:sldMkLst>
          <pc:docMk/>
          <pc:sldMk cId="102007623" sldId="1995"/>
        </pc:sldMkLst>
        <pc:spChg chg="mod">
          <ac:chgData name="Guest User" userId="" providerId="Windows Live" clId="Web-{5EFA045C-EA64-4E13-893D-6A527BD8F466}" dt="2020-08-23T21:56:44.971" v="0" actId="20577"/>
          <ac:spMkLst>
            <pc:docMk/>
            <pc:sldMk cId="102007623" sldId="1995"/>
            <ac:spMk id="58" creationId="{2888D511-49B9-40D5-B041-692A174B8BA2}"/>
          </ac:spMkLst>
        </pc:spChg>
        <pc:spChg chg="mod">
          <ac:chgData name="Guest User" userId="" providerId="Windows Live" clId="Web-{5EFA045C-EA64-4E13-893D-6A527BD8F466}" dt="2020-08-23T21:56:55.783" v="3"/>
          <ac:spMkLst>
            <pc:docMk/>
            <pc:sldMk cId="102007623" sldId="1995"/>
            <ac:spMk id="124" creationId="{08196825-5917-40C9-9CBE-C21712F31715}"/>
          </ac:spMkLst>
        </pc:spChg>
        <pc:spChg chg="mod">
          <ac:chgData name="Guest User" userId="" providerId="Windows Live" clId="Web-{5EFA045C-EA64-4E13-893D-6A527BD8F466}" dt="2020-08-23T21:57:02.455" v="4"/>
          <ac:spMkLst>
            <pc:docMk/>
            <pc:sldMk cId="102007623" sldId="1995"/>
            <ac:spMk id="125" creationId="{4B906160-35A0-42D9-802A-ED72F56F5EE0}"/>
          </ac:spMkLst>
        </pc:spChg>
        <pc:spChg chg="mod">
          <ac:chgData name="Guest User" userId="" providerId="Windows Live" clId="Web-{5EFA045C-EA64-4E13-893D-6A527BD8F466}" dt="2020-08-23T21:57:07.534" v="5"/>
          <ac:spMkLst>
            <pc:docMk/>
            <pc:sldMk cId="102007623" sldId="1995"/>
            <ac:spMk id="126" creationId="{5B7B2569-909B-450D-A1B6-097F56AA578D}"/>
          </ac:spMkLst>
        </pc:spChg>
      </pc:sldChg>
    </pc:docChg>
  </pc:docChgLst>
  <pc:docChgLst>
    <pc:chgData name="Jeffrey Sonola" userId="S::jsonola@microsoft.com::cd9df610-0224-4b3f-8054-17d9a3117f3f" providerId="AD" clId="Web-{EFB9631E-52F0-3596-C51E-CFAEC848BDE7}"/>
    <pc:docChg chg="modSld">
      <pc:chgData name="Jeffrey Sonola" userId="S::jsonola@microsoft.com::cd9df610-0224-4b3f-8054-17d9a3117f3f" providerId="AD" clId="Web-{EFB9631E-52F0-3596-C51E-CFAEC848BDE7}" dt="2021-09-16T15:39:42.528" v="25" actId="1076"/>
      <pc:docMkLst>
        <pc:docMk/>
      </pc:docMkLst>
      <pc:sldChg chg="modSp">
        <pc:chgData name="Jeffrey Sonola" userId="S::jsonola@microsoft.com::cd9df610-0224-4b3f-8054-17d9a3117f3f" providerId="AD" clId="Web-{EFB9631E-52F0-3596-C51E-CFAEC848BDE7}" dt="2021-09-16T15:39:42.528" v="25" actId="1076"/>
        <pc:sldMkLst>
          <pc:docMk/>
          <pc:sldMk cId="4108220385" sldId="2012"/>
        </pc:sldMkLst>
        <pc:picChg chg="mod">
          <ac:chgData name="Jeffrey Sonola" userId="S::jsonola@microsoft.com::cd9df610-0224-4b3f-8054-17d9a3117f3f" providerId="AD" clId="Web-{EFB9631E-52F0-3596-C51E-CFAEC848BDE7}" dt="2021-09-16T15:39:17.762" v="17" actId="14100"/>
          <ac:picMkLst>
            <pc:docMk/>
            <pc:sldMk cId="4108220385" sldId="2012"/>
            <ac:picMk id="4" creationId="{07CA59F1-978F-45C5-ADFF-16946D2E51F9}"/>
          </ac:picMkLst>
        </pc:picChg>
        <pc:picChg chg="mod">
          <ac:chgData name="Jeffrey Sonola" userId="S::jsonola@microsoft.com::cd9df610-0224-4b3f-8054-17d9a3117f3f" providerId="AD" clId="Web-{EFB9631E-52F0-3596-C51E-CFAEC848BDE7}" dt="2021-09-16T15:39:42.528" v="25" actId="1076"/>
          <ac:picMkLst>
            <pc:docMk/>
            <pc:sldMk cId="4108220385" sldId="2012"/>
            <ac:picMk id="5" creationId="{59F18442-6A51-4DAE-B46E-7CCC18C68791}"/>
          </ac:picMkLst>
        </pc:picChg>
      </pc:sldChg>
    </pc:docChg>
  </pc:docChgLst>
  <pc:docChgLst>
    <pc:chgData name="Ki'Yona McClary" userId="S::kmcclary@microsoft.com::492bc8e0-e31d-42f8-9b7a-81eef03d1dc4" providerId="AD" clId="Web-{3104B19F-F014-0000-D567-E9D1FDB1BC7F}"/>
    <pc:docChg chg="addSld delSld modSld">
      <pc:chgData name="Ki'Yona McClary" userId="S::kmcclary@microsoft.com::492bc8e0-e31d-42f8-9b7a-81eef03d1dc4" providerId="AD" clId="Web-{3104B19F-F014-0000-D567-E9D1FDB1BC7F}" dt="2021-03-04T17:43:25.986" v="242" actId="1076"/>
      <pc:docMkLst>
        <pc:docMk/>
      </pc:docMkLst>
      <pc:sldChg chg="modSp">
        <pc:chgData name="Ki'Yona McClary" userId="S::kmcclary@microsoft.com::492bc8e0-e31d-42f8-9b7a-81eef03d1dc4" providerId="AD" clId="Web-{3104B19F-F014-0000-D567-E9D1FDB1BC7F}" dt="2021-03-04T16:34:00.543" v="0" actId="20577"/>
        <pc:sldMkLst>
          <pc:docMk/>
          <pc:sldMk cId="2355728576" sldId="278"/>
        </pc:sldMkLst>
        <pc:spChg chg="mod">
          <ac:chgData name="Ki'Yona McClary" userId="S::kmcclary@microsoft.com::492bc8e0-e31d-42f8-9b7a-81eef03d1dc4" providerId="AD" clId="Web-{3104B19F-F014-0000-D567-E9D1FDB1BC7F}" dt="2021-03-04T16:34:00.543" v="0" actId="20577"/>
          <ac:spMkLst>
            <pc:docMk/>
            <pc:sldMk cId="2355728576" sldId="278"/>
            <ac:spMk id="3" creationId="{4C7B2818-D4B6-49AF-BC6D-48A87C308A7A}"/>
          </ac:spMkLst>
        </pc:spChg>
      </pc:sldChg>
      <pc:sldChg chg="modSp">
        <pc:chgData name="Ki'Yona McClary" userId="S::kmcclary@microsoft.com::492bc8e0-e31d-42f8-9b7a-81eef03d1dc4" providerId="AD" clId="Web-{3104B19F-F014-0000-D567-E9D1FDB1BC7F}" dt="2021-03-04T17:31:00.388" v="213" actId="20577"/>
        <pc:sldMkLst>
          <pc:docMk/>
          <pc:sldMk cId="3716265243" sldId="1966"/>
        </pc:sldMkLst>
        <pc:spChg chg="mod">
          <ac:chgData name="Ki'Yona McClary" userId="S::kmcclary@microsoft.com::492bc8e0-e31d-42f8-9b7a-81eef03d1dc4" providerId="AD" clId="Web-{3104B19F-F014-0000-D567-E9D1FDB1BC7F}" dt="2021-03-04T17:31:00.388" v="213" actId="20577"/>
          <ac:spMkLst>
            <pc:docMk/>
            <pc:sldMk cId="3716265243" sldId="1966"/>
            <ac:spMk id="2" creationId="{C962C15F-95E3-481D-A0CF-AE6555E28DA2}"/>
          </ac:spMkLst>
        </pc:spChg>
      </pc:sldChg>
      <pc:sldChg chg="modNotes">
        <pc:chgData name="Ki'Yona McClary" userId="S::kmcclary@microsoft.com::492bc8e0-e31d-42f8-9b7a-81eef03d1dc4" providerId="AD" clId="Web-{3104B19F-F014-0000-D567-E9D1FDB1BC7F}" dt="2021-03-04T16:35:27.952" v="1"/>
        <pc:sldMkLst>
          <pc:docMk/>
          <pc:sldMk cId="102007623" sldId="1995"/>
        </pc:sldMkLst>
      </pc:sldChg>
      <pc:sldChg chg="addSp delSp modSp modNotes">
        <pc:chgData name="Ki'Yona McClary" userId="S::kmcclary@microsoft.com::492bc8e0-e31d-42f8-9b7a-81eef03d1dc4" providerId="AD" clId="Web-{3104B19F-F014-0000-D567-E9D1FDB1BC7F}" dt="2021-03-04T16:45:44.328" v="39"/>
        <pc:sldMkLst>
          <pc:docMk/>
          <pc:sldMk cId="2875695618" sldId="1996"/>
        </pc:sldMkLst>
        <pc:spChg chg="mod">
          <ac:chgData name="Ki'Yona McClary" userId="S::kmcclary@microsoft.com::492bc8e0-e31d-42f8-9b7a-81eef03d1dc4" providerId="AD" clId="Web-{3104B19F-F014-0000-D567-E9D1FDB1BC7F}" dt="2021-03-04T16:36:42.032" v="8" actId="20577"/>
          <ac:spMkLst>
            <pc:docMk/>
            <pc:sldMk cId="2875695618" sldId="1996"/>
            <ac:spMk id="2" creationId="{82E1F057-4164-4917-9DC7-1568A4EDC3E7}"/>
          </ac:spMkLst>
        </pc:spChg>
        <pc:picChg chg="add del mod modCrop">
          <ac:chgData name="Ki'Yona McClary" userId="S::kmcclary@microsoft.com::492bc8e0-e31d-42f8-9b7a-81eef03d1dc4" providerId="AD" clId="Web-{3104B19F-F014-0000-D567-E9D1FDB1BC7F}" dt="2021-03-04T16:43:07.574" v="28"/>
          <ac:picMkLst>
            <pc:docMk/>
            <pc:sldMk cId="2875695618" sldId="1996"/>
            <ac:picMk id="3" creationId="{2EFB9268-F323-47B1-A7D6-9E86EAC68DEC}"/>
          </ac:picMkLst>
        </pc:picChg>
        <pc:picChg chg="add mod">
          <ac:chgData name="Ki'Yona McClary" userId="S::kmcclary@microsoft.com::492bc8e0-e31d-42f8-9b7a-81eef03d1dc4" providerId="AD" clId="Web-{3104B19F-F014-0000-D567-E9D1FDB1BC7F}" dt="2021-03-04T16:43:27.668" v="35" actId="1076"/>
          <ac:picMkLst>
            <pc:docMk/>
            <pc:sldMk cId="2875695618" sldId="1996"/>
            <ac:picMk id="4" creationId="{E45C4B4C-7371-4C9E-870C-F6EF1C192C6C}"/>
          </ac:picMkLst>
        </pc:picChg>
        <pc:picChg chg="add del">
          <ac:chgData name="Ki'Yona McClary" userId="S::kmcclary@microsoft.com::492bc8e0-e31d-42f8-9b7a-81eef03d1dc4" providerId="AD" clId="Web-{3104B19F-F014-0000-D567-E9D1FDB1BC7F}" dt="2021-03-04T16:39:09.442" v="15"/>
          <ac:picMkLst>
            <pc:docMk/>
            <pc:sldMk cId="2875695618" sldId="1996"/>
            <ac:picMk id="5" creationId="{CF9B75BC-F886-4CFE-83A0-3495CAC325AB}"/>
          </ac:picMkLst>
        </pc:picChg>
      </pc:sldChg>
      <pc:sldChg chg="addSp delSp modSp">
        <pc:chgData name="Ki'Yona McClary" userId="S::kmcclary@microsoft.com::492bc8e0-e31d-42f8-9b7a-81eef03d1dc4" providerId="AD" clId="Web-{3104B19F-F014-0000-D567-E9D1FDB1BC7F}" dt="2021-03-04T17:26:15.505" v="211" actId="1076"/>
        <pc:sldMkLst>
          <pc:docMk/>
          <pc:sldMk cId="3612004523" sldId="1997"/>
        </pc:sldMkLst>
        <pc:spChg chg="mod">
          <ac:chgData name="Ki'Yona McClary" userId="S::kmcclary@microsoft.com::492bc8e0-e31d-42f8-9b7a-81eef03d1dc4" providerId="AD" clId="Web-{3104B19F-F014-0000-D567-E9D1FDB1BC7F}" dt="2021-03-04T17:25:24.003" v="159" actId="1076"/>
          <ac:spMkLst>
            <pc:docMk/>
            <pc:sldMk cId="3612004523" sldId="1997"/>
            <ac:spMk id="2" creationId="{82E1F057-4164-4917-9DC7-1568A4EDC3E7}"/>
          </ac:spMkLst>
        </pc:spChg>
        <pc:spChg chg="add mod">
          <ac:chgData name="Ki'Yona McClary" userId="S::kmcclary@microsoft.com::492bc8e0-e31d-42f8-9b7a-81eef03d1dc4" providerId="AD" clId="Web-{3104B19F-F014-0000-D567-E9D1FDB1BC7F}" dt="2021-03-04T17:26:15.505" v="211" actId="1076"/>
          <ac:spMkLst>
            <pc:docMk/>
            <pc:sldMk cId="3612004523" sldId="1997"/>
            <ac:spMk id="9" creationId="{9E1766E7-7E89-4069-BD5F-5C6AE8594A41}"/>
          </ac:spMkLst>
        </pc:spChg>
        <pc:spChg chg="add mod">
          <ac:chgData name="Ki'Yona McClary" userId="S::kmcclary@microsoft.com::492bc8e0-e31d-42f8-9b7a-81eef03d1dc4" providerId="AD" clId="Web-{3104B19F-F014-0000-D567-E9D1FDB1BC7F}" dt="2021-03-04T17:25:44.160" v="205" actId="1076"/>
          <ac:spMkLst>
            <pc:docMk/>
            <pc:sldMk cId="3612004523" sldId="1997"/>
            <ac:spMk id="11" creationId="{40A9B32F-4DA3-46C4-BF17-4B830039FE44}"/>
          </ac:spMkLst>
        </pc:spChg>
        <pc:spChg chg="add mod">
          <ac:chgData name="Ki'Yona McClary" userId="S::kmcclary@microsoft.com::492bc8e0-e31d-42f8-9b7a-81eef03d1dc4" providerId="AD" clId="Web-{3104B19F-F014-0000-D567-E9D1FDB1BC7F}" dt="2021-03-04T17:25:44.191" v="207" actId="1076"/>
          <ac:spMkLst>
            <pc:docMk/>
            <pc:sldMk cId="3612004523" sldId="1997"/>
            <ac:spMk id="13" creationId="{2B126222-A210-4A1E-9A5E-F21CF76814D6}"/>
          </ac:spMkLst>
        </pc:spChg>
        <pc:picChg chg="add mod modCrop">
          <ac:chgData name="Ki'Yona McClary" userId="S::kmcclary@microsoft.com::492bc8e0-e31d-42f8-9b7a-81eef03d1dc4" providerId="AD" clId="Web-{3104B19F-F014-0000-D567-E9D1FDB1BC7F}" dt="2021-03-04T17:25:56.020" v="208" actId="1076"/>
          <ac:picMkLst>
            <pc:docMk/>
            <pc:sldMk cId="3612004523" sldId="1997"/>
            <ac:picMk id="3" creationId="{87D49655-ABFE-418C-A9DF-6C9404C4720E}"/>
          </ac:picMkLst>
        </pc:picChg>
        <pc:picChg chg="del">
          <ac:chgData name="Ki'Yona McClary" userId="S::kmcclary@microsoft.com::492bc8e0-e31d-42f8-9b7a-81eef03d1dc4" providerId="AD" clId="Web-{3104B19F-F014-0000-D567-E9D1FDB1BC7F}" dt="2021-03-04T16:51:20.103" v="57"/>
          <ac:picMkLst>
            <pc:docMk/>
            <pc:sldMk cId="3612004523" sldId="1997"/>
            <ac:picMk id="8" creationId="{F52DFE2E-669B-482C-99BD-DE9DC9B512D2}"/>
          </ac:picMkLst>
        </pc:picChg>
        <pc:cxnChg chg="add mod">
          <ac:chgData name="Ki'Yona McClary" userId="S::kmcclary@microsoft.com::492bc8e0-e31d-42f8-9b7a-81eef03d1dc4" providerId="AD" clId="Web-{3104B19F-F014-0000-D567-E9D1FDB1BC7F}" dt="2021-03-04T17:26:08.942" v="210" actId="1076"/>
          <ac:cxnSpMkLst>
            <pc:docMk/>
            <pc:sldMk cId="3612004523" sldId="1997"/>
            <ac:cxnSpMk id="4" creationId="{E7A2FD36-8CF4-4359-8CD6-2D1B7A5A2214}"/>
          </ac:cxnSpMkLst>
        </pc:cxnChg>
        <pc:cxnChg chg="add del">
          <ac:chgData name="Ki'Yona McClary" userId="S::kmcclary@microsoft.com::492bc8e0-e31d-42f8-9b7a-81eef03d1dc4" providerId="AD" clId="Web-{3104B19F-F014-0000-D567-E9D1FDB1BC7F}" dt="2021-03-04T17:20:25.714" v="79"/>
          <ac:cxnSpMkLst>
            <pc:docMk/>
            <pc:sldMk cId="3612004523" sldId="1997"/>
            <ac:cxnSpMk id="6" creationId="{9F3C3910-B876-4BC6-A261-257B91265464}"/>
          </ac:cxnSpMkLst>
        </pc:cxnChg>
        <pc:cxnChg chg="add mod">
          <ac:chgData name="Ki'Yona McClary" userId="S::kmcclary@microsoft.com::492bc8e0-e31d-42f8-9b7a-81eef03d1dc4" providerId="AD" clId="Web-{3104B19F-F014-0000-D567-E9D1FDB1BC7F}" dt="2021-03-04T17:25:44.160" v="204" actId="1076"/>
          <ac:cxnSpMkLst>
            <pc:docMk/>
            <pc:sldMk cId="3612004523" sldId="1997"/>
            <ac:cxnSpMk id="10" creationId="{14595135-42A6-48F6-A74E-7D6EB9200912}"/>
          </ac:cxnSpMkLst>
        </pc:cxnChg>
        <pc:cxnChg chg="add mod">
          <ac:chgData name="Ki'Yona McClary" userId="S::kmcclary@microsoft.com::492bc8e0-e31d-42f8-9b7a-81eef03d1dc4" providerId="AD" clId="Web-{3104B19F-F014-0000-D567-E9D1FDB1BC7F}" dt="2021-03-04T17:25:44.176" v="206" actId="1076"/>
          <ac:cxnSpMkLst>
            <pc:docMk/>
            <pc:sldMk cId="3612004523" sldId="1997"/>
            <ac:cxnSpMk id="12" creationId="{7DBD2455-361A-4F33-91E9-6D42A231591B}"/>
          </ac:cxnSpMkLst>
        </pc:cxnChg>
      </pc:sldChg>
      <pc:sldChg chg="addSp delSp modSp">
        <pc:chgData name="Ki'Yona McClary" userId="S::kmcclary@microsoft.com::492bc8e0-e31d-42f8-9b7a-81eef03d1dc4" providerId="AD" clId="Web-{3104B19F-F014-0000-D567-E9D1FDB1BC7F}" dt="2021-03-04T17:43:25.986" v="242" actId="1076"/>
        <pc:sldMkLst>
          <pc:docMk/>
          <pc:sldMk cId="989663208" sldId="2002"/>
        </pc:sldMkLst>
        <pc:spChg chg="mod">
          <ac:chgData name="Ki'Yona McClary" userId="S::kmcclary@microsoft.com::492bc8e0-e31d-42f8-9b7a-81eef03d1dc4" providerId="AD" clId="Web-{3104B19F-F014-0000-D567-E9D1FDB1BC7F}" dt="2021-03-04T17:41:21.358" v="231" actId="1076"/>
          <ac:spMkLst>
            <pc:docMk/>
            <pc:sldMk cId="989663208" sldId="2002"/>
            <ac:spMk id="11" creationId="{03F59770-AD8B-469B-A88E-3E29D4DA280A}"/>
          </ac:spMkLst>
        </pc:spChg>
        <pc:spChg chg="mod">
          <ac:chgData name="Ki'Yona McClary" userId="S::kmcclary@microsoft.com::492bc8e0-e31d-42f8-9b7a-81eef03d1dc4" providerId="AD" clId="Web-{3104B19F-F014-0000-D567-E9D1FDB1BC7F}" dt="2021-03-04T17:42:37.907" v="239" actId="1076"/>
          <ac:spMkLst>
            <pc:docMk/>
            <pc:sldMk cId="989663208" sldId="2002"/>
            <ac:spMk id="12" creationId="{BFDCB6BC-4837-48FD-907E-BBD2084BA873}"/>
          </ac:spMkLst>
        </pc:spChg>
        <pc:spChg chg="mod">
          <ac:chgData name="Ki'Yona McClary" userId="S::kmcclary@microsoft.com::492bc8e0-e31d-42f8-9b7a-81eef03d1dc4" providerId="AD" clId="Web-{3104B19F-F014-0000-D567-E9D1FDB1BC7F}" dt="2021-03-04T17:42:25.110" v="236" actId="1076"/>
          <ac:spMkLst>
            <pc:docMk/>
            <pc:sldMk cId="989663208" sldId="2002"/>
            <ac:spMk id="13" creationId="{F96F65E3-2373-4140-BF6C-A1D2F809CB2B}"/>
          </ac:spMkLst>
        </pc:spChg>
        <pc:picChg chg="add mod modCrop">
          <ac:chgData name="Ki'Yona McClary" userId="S::kmcclary@microsoft.com::492bc8e0-e31d-42f8-9b7a-81eef03d1dc4" providerId="AD" clId="Web-{3104B19F-F014-0000-D567-E9D1FDB1BC7F}" dt="2021-03-04T17:40:50.873" v="230" actId="1076"/>
          <ac:picMkLst>
            <pc:docMk/>
            <pc:sldMk cId="989663208" sldId="2002"/>
            <ac:picMk id="3" creationId="{4E8EF135-185D-4998-87D8-0458480C08B6}"/>
          </ac:picMkLst>
        </pc:picChg>
        <pc:picChg chg="mod modCrop">
          <ac:chgData name="Ki'Yona McClary" userId="S::kmcclary@microsoft.com::492bc8e0-e31d-42f8-9b7a-81eef03d1dc4" providerId="AD" clId="Web-{3104B19F-F014-0000-D567-E9D1FDB1BC7F}" dt="2021-03-04T17:43:25.986" v="242" actId="1076"/>
          <ac:picMkLst>
            <pc:docMk/>
            <pc:sldMk cId="989663208" sldId="2002"/>
            <ac:picMk id="10" creationId="{C431870F-E289-4F36-85DC-73F777D6D08B}"/>
          </ac:picMkLst>
        </pc:picChg>
        <pc:picChg chg="del">
          <ac:chgData name="Ki'Yona McClary" userId="S::kmcclary@microsoft.com::492bc8e0-e31d-42f8-9b7a-81eef03d1dc4" providerId="AD" clId="Web-{3104B19F-F014-0000-D567-E9D1FDB1BC7F}" dt="2021-03-04T17:39:20.870" v="214"/>
          <ac:picMkLst>
            <pc:docMk/>
            <pc:sldMk cId="989663208" sldId="2002"/>
            <ac:picMk id="14" creationId="{9398E18F-7D35-467D-9310-E971B43FDCC3}"/>
          </ac:picMkLst>
        </pc:picChg>
      </pc:sldChg>
      <pc:sldChg chg="add del replId">
        <pc:chgData name="Ki'Yona McClary" userId="S::kmcclary@microsoft.com::492bc8e0-e31d-42f8-9b7a-81eef03d1dc4" providerId="AD" clId="Web-{3104B19F-F014-0000-D567-E9D1FDB1BC7F}" dt="2021-03-04T17:05:55.018" v="72"/>
        <pc:sldMkLst>
          <pc:docMk/>
          <pc:sldMk cId="3832228466" sldId="2014"/>
        </pc:sldMkLst>
      </pc:sldChg>
    </pc:docChg>
  </pc:docChgLst>
  <pc:docChgLst>
    <pc:chgData name="Christopher Weaver" userId="2d47d5c7-389a-4b91-8fc5-dfad12ad20c7" providerId="ADAL" clId="{C04040D7-8C31-41F2-83CA-E3CF204CE8F6}"/>
    <pc:docChg chg="delSld modSld">
      <pc:chgData name="Christopher Weaver" userId="2d47d5c7-389a-4b91-8fc5-dfad12ad20c7" providerId="ADAL" clId="{C04040D7-8C31-41F2-83CA-E3CF204CE8F6}" dt="2020-07-31T19:20:27.310" v="11" actId="2696"/>
      <pc:docMkLst>
        <pc:docMk/>
      </pc:docMkLst>
      <pc:sldChg chg="del">
        <pc:chgData name="Christopher Weaver" userId="2d47d5c7-389a-4b91-8fc5-dfad12ad20c7" providerId="ADAL" clId="{C04040D7-8C31-41F2-83CA-E3CF204CE8F6}" dt="2020-07-31T19:19:44.996" v="8" actId="2696"/>
        <pc:sldMkLst>
          <pc:docMk/>
          <pc:sldMk cId="4186606887" sldId="262"/>
        </pc:sldMkLst>
      </pc:sldChg>
      <pc:sldChg chg="del">
        <pc:chgData name="Christopher Weaver" userId="2d47d5c7-389a-4b91-8fc5-dfad12ad20c7" providerId="ADAL" clId="{C04040D7-8C31-41F2-83CA-E3CF204CE8F6}" dt="2020-07-31T19:07:13.037" v="0" actId="2696"/>
        <pc:sldMkLst>
          <pc:docMk/>
          <pc:sldMk cId="4152765703" sldId="279"/>
        </pc:sldMkLst>
      </pc:sldChg>
      <pc:sldChg chg="del">
        <pc:chgData name="Christopher Weaver" userId="2d47d5c7-389a-4b91-8fc5-dfad12ad20c7" providerId="ADAL" clId="{C04040D7-8C31-41F2-83CA-E3CF204CE8F6}" dt="2020-07-31T19:18:55.362" v="6" actId="2696"/>
        <pc:sldMkLst>
          <pc:docMk/>
          <pc:sldMk cId="2332363192" sldId="285"/>
        </pc:sldMkLst>
      </pc:sldChg>
      <pc:sldChg chg="del">
        <pc:chgData name="Christopher Weaver" userId="2d47d5c7-389a-4b91-8fc5-dfad12ad20c7" providerId="ADAL" clId="{C04040D7-8C31-41F2-83CA-E3CF204CE8F6}" dt="2020-07-31T19:20:27.310" v="11" actId="2696"/>
        <pc:sldMkLst>
          <pc:docMk/>
          <pc:sldMk cId="3525975785" sldId="382"/>
        </pc:sldMkLst>
      </pc:sldChg>
      <pc:sldChg chg="del">
        <pc:chgData name="Christopher Weaver" userId="2d47d5c7-389a-4b91-8fc5-dfad12ad20c7" providerId="ADAL" clId="{C04040D7-8C31-41F2-83CA-E3CF204CE8F6}" dt="2020-07-31T19:19:51.065" v="9" actId="2696"/>
        <pc:sldMkLst>
          <pc:docMk/>
          <pc:sldMk cId="2750993272" sldId="399"/>
        </pc:sldMkLst>
      </pc:sldChg>
      <pc:sldChg chg="del">
        <pc:chgData name="Christopher Weaver" userId="2d47d5c7-389a-4b91-8fc5-dfad12ad20c7" providerId="ADAL" clId="{C04040D7-8C31-41F2-83CA-E3CF204CE8F6}" dt="2020-07-31T19:20:24.707" v="10" actId="2696"/>
        <pc:sldMkLst>
          <pc:docMk/>
          <pc:sldMk cId="12318851" sldId="1967"/>
        </pc:sldMkLst>
      </pc:sldChg>
      <pc:sldChg chg="del">
        <pc:chgData name="Christopher Weaver" userId="2d47d5c7-389a-4b91-8fc5-dfad12ad20c7" providerId="ADAL" clId="{C04040D7-8C31-41F2-83CA-E3CF204CE8F6}" dt="2020-07-31T19:16:12.192" v="5" actId="2696"/>
        <pc:sldMkLst>
          <pc:docMk/>
          <pc:sldMk cId="1097285130" sldId="1969"/>
        </pc:sldMkLst>
      </pc:sldChg>
      <pc:sldChg chg="del">
        <pc:chgData name="Christopher Weaver" userId="2d47d5c7-389a-4b91-8fc5-dfad12ad20c7" providerId="ADAL" clId="{C04040D7-8C31-41F2-83CA-E3CF204CE8F6}" dt="2020-07-31T19:16:04.960" v="3" actId="2696"/>
        <pc:sldMkLst>
          <pc:docMk/>
          <pc:sldMk cId="2383933296" sldId="1988"/>
        </pc:sldMkLst>
      </pc:sldChg>
      <pc:sldChg chg="del">
        <pc:chgData name="Christopher Weaver" userId="2d47d5c7-389a-4b91-8fc5-dfad12ad20c7" providerId="ADAL" clId="{C04040D7-8C31-41F2-83CA-E3CF204CE8F6}" dt="2020-07-31T19:16:08.515" v="4" actId="2696"/>
        <pc:sldMkLst>
          <pc:docMk/>
          <pc:sldMk cId="2070064816" sldId="1989"/>
        </pc:sldMkLst>
      </pc:sldChg>
      <pc:sldChg chg="del">
        <pc:chgData name="Christopher Weaver" userId="2d47d5c7-389a-4b91-8fc5-dfad12ad20c7" providerId="ADAL" clId="{C04040D7-8C31-41F2-83CA-E3CF204CE8F6}" dt="2020-07-31T19:07:36.316" v="1" actId="2696"/>
        <pc:sldMkLst>
          <pc:docMk/>
          <pc:sldMk cId="1831265177" sldId="1990"/>
        </pc:sldMkLst>
      </pc:sldChg>
      <pc:sldChg chg="modSp mod">
        <pc:chgData name="Christopher Weaver" userId="2d47d5c7-389a-4b91-8fc5-dfad12ad20c7" providerId="ADAL" clId="{C04040D7-8C31-41F2-83CA-E3CF204CE8F6}" dt="2020-07-31T19:19:10.590" v="7" actId="255"/>
        <pc:sldMkLst>
          <pc:docMk/>
          <pc:sldMk cId="3571336088" sldId="1991"/>
        </pc:sldMkLst>
        <pc:spChg chg="mod">
          <ac:chgData name="Christopher Weaver" userId="2d47d5c7-389a-4b91-8fc5-dfad12ad20c7" providerId="ADAL" clId="{C04040D7-8C31-41F2-83CA-E3CF204CE8F6}" dt="2020-07-31T19:19:10.590" v="7" actId="255"/>
          <ac:spMkLst>
            <pc:docMk/>
            <pc:sldMk cId="3571336088" sldId="1991"/>
            <ac:spMk id="7" creationId="{90ACB90D-992B-4408-B3ED-15C194BD74A4}"/>
          </ac:spMkLst>
        </pc:spChg>
      </pc:sldChg>
      <pc:sldChg chg="del">
        <pc:chgData name="Christopher Weaver" userId="2d47d5c7-389a-4b91-8fc5-dfad12ad20c7" providerId="ADAL" clId="{C04040D7-8C31-41F2-83CA-E3CF204CE8F6}" dt="2020-07-31T19:07:40.898" v="2" actId="2696"/>
        <pc:sldMkLst>
          <pc:docMk/>
          <pc:sldMk cId="4176708396" sldId="1992"/>
        </pc:sldMkLst>
      </pc:sldChg>
    </pc:docChg>
  </pc:docChgLst>
  <pc:docChgLst>
    <pc:chgData name="Jeffrey Sonola" userId="S::jsonola@microsoft.com::cd9df610-0224-4b3f-8054-17d9a3117f3f" providerId="AD" clId="Web-{3D12BA60-EC5F-9A33-9A45-3931989333F6}"/>
    <pc:docChg chg="modSld">
      <pc:chgData name="Jeffrey Sonola" userId="S::jsonola@microsoft.com::cd9df610-0224-4b3f-8054-17d9a3117f3f" providerId="AD" clId="Web-{3D12BA60-EC5F-9A33-9A45-3931989333F6}" dt="2021-09-27T19:31:08.460" v="2" actId="20577"/>
      <pc:docMkLst>
        <pc:docMk/>
      </pc:docMkLst>
      <pc:sldChg chg="modSp">
        <pc:chgData name="Jeffrey Sonola" userId="S::jsonola@microsoft.com::cd9df610-0224-4b3f-8054-17d9a3117f3f" providerId="AD" clId="Web-{3D12BA60-EC5F-9A33-9A45-3931989333F6}" dt="2021-09-27T19:31:08.460" v="2" actId="20577"/>
        <pc:sldMkLst>
          <pc:docMk/>
          <pc:sldMk cId="3433158677" sldId="2005"/>
        </pc:sldMkLst>
        <pc:spChg chg="mod">
          <ac:chgData name="Jeffrey Sonola" userId="S::jsonola@microsoft.com::cd9df610-0224-4b3f-8054-17d9a3117f3f" providerId="AD" clId="Web-{3D12BA60-EC5F-9A33-9A45-3931989333F6}" dt="2021-09-27T19:31:08.460" v="2" actId="20577"/>
          <ac:spMkLst>
            <pc:docMk/>
            <pc:sldMk cId="3433158677" sldId="2005"/>
            <ac:spMk id="5" creationId="{1F868EAD-30D3-4785-878C-0C4B13F2E5EA}"/>
          </ac:spMkLst>
        </pc:spChg>
      </pc:sldChg>
    </pc:docChg>
  </pc:docChgLst>
  <pc:docChgLst>
    <pc:chgData name="Christopher Weaver" userId="2d47d5c7-389a-4b91-8fc5-dfad12ad20c7" providerId="ADAL" clId="{13D0A694-E256-4B1E-8D95-55DD57573091}"/>
    <pc:docChg chg="custSel addSld delSld modSld">
      <pc:chgData name="Christopher Weaver" userId="2d47d5c7-389a-4b91-8fc5-dfad12ad20c7" providerId="ADAL" clId="{13D0A694-E256-4B1E-8D95-55DD57573091}" dt="2021-10-12T18:11:10.582" v="290" actId="20577"/>
      <pc:docMkLst>
        <pc:docMk/>
      </pc:docMkLst>
      <pc:sldChg chg="addSp delSp modSp add del mod addCm modCm modNotesTx">
        <pc:chgData name="Christopher Weaver" userId="2d47d5c7-389a-4b91-8fc5-dfad12ad20c7" providerId="ADAL" clId="{13D0A694-E256-4B1E-8D95-55DD57573091}" dt="2021-10-12T18:11:10.582" v="290" actId="20577"/>
        <pc:sldMkLst>
          <pc:docMk/>
          <pc:sldMk cId="497597664" sldId="2023"/>
        </pc:sldMkLst>
        <pc:spChg chg="del mod">
          <ac:chgData name="Christopher Weaver" userId="2d47d5c7-389a-4b91-8fc5-dfad12ad20c7" providerId="ADAL" clId="{13D0A694-E256-4B1E-8D95-55DD57573091}" dt="2021-10-12T15:17:42.062" v="31" actId="478"/>
          <ac:spMkLst>
            <pc:docMk/>
            <pc:sldMk cId="497597664" sldId="2023"/>
            <ac:spMk id="3" creationId="{34D7CF2F-7100-409B-9D88-A84A719FA613}"/>
          </ac:spMkLst>
        </pc:spChg>
        <pc:spChg chg="add del mod">
          <ac:chgData name="Christopher Weaver" userId="2d47d5c7-389a-4b91-8fc5-dfad12ad20c7" providerId="ADAL" clId="{13D0A694-E256-4B1E-8D95-55DD57573091}" dt="2021-10-12T15:19:08.123" v="102" actId="478"/>
          <ac:spMkLst>
            <pc:docMk/>
            <pc:sldMk cId="497597664" sldId="2023"/>
            <ac:spMk id="4" creationId="{F3B97C68-A9AF-431A-8052-0E1F31CDCC31}"/>
          </ac:spMkLst>
        </pc:spChg>
        <pc:picChg chg="mod">
          <ac:chgData name="Christopher Weaver" userId="2d47d5c7-389a-4b91-8fc5-dfad12ad20c7" providerId="ADAL" clId="{13D0A694-E256-4B1E-8D95-55DD57573091}" dt="2021-10-12T15:19:17.718" v="104" actId="1076"/>
          <ac:picMkLst>
            <pc:docMk/>
            <pc:sldMk cId="497597664" sldId="2023"/>
            <ac:picMk id="1026" creationId="{F6E45C8E-7742-45E9-B6A8-97F30706D8FA}"/>
          </ac:picMkLst>
        </pc:picChg>
      </pc:sldChg>
      <pc:sldChg chg="addSp">
        <pc:chgData name="Christopher Weaver" userId="2d47d5c7-389a-4b91-8fc5-dfad12ad20c7" providerId="ADAL" clId="{13D0A694-E256-4B1E-8D95-55DD57573091}" dt="2021-10-12T15:09:49.703" v="2"/>
        <pc:sldMkLst>
          <pc:docMk/>
          <pc:sldMk cId="791776203" sldId="2023"/>
        </pc:sldMkLst>
        <pc:picChg chg="add">
          <ac:chgData name="Christopher Weaver" userId="2d47d5c7-389a-4b91-8fc5-dfad12ad20c7" providerId="ADAL" clId="{13D0A694-E256-4B1E-8D95-55DD57573091}" dt="2021-10-12T15:09:49.703" v="2"/>
          <ac:picMkLst>
            <pc:docMk/>
            <pc:sldMk cId="791776203" sldId="2023"/>
            <ac:picMk id="1026" creationId="{F6E45C8E-7742-45E9-B6A8-97F30706D8FA}"/>
          </ac:picMkLst>
        </pc:picChg>
      </pc:sldChg>
    </pc:docChg>
  </pc:docChgLst>
  <pc:docChgLst>
    <pc:chgData name="Jeffrey Sonola" userId="S::jsonola@microsoft.com::cd9df610-0224-4b3f-8054-17d9a3117f3f" providerId="AD" clId="Web-{A9E3BFEA-FB79-4401-9EAD-EE35E4A2D9BA}"/>
    <pc:docChg chg="modSld">
      <pc:chgData name="Jeffrey Sonola" userId="S::jsonola@microsoft.com::cd9df610-0224-4b3f-8054-17d9a3117f3f" providerId="AD" clId="Web-{A9E3BFEA-FB79-4401-9EAD-EE35E4A2D9BA}" dt="2021-09-14T15:51:51.695" v="15"/>
      <pc:docMkLst>
        <pc:docMk/>
      </pc:docMkLst>
      <pc:sldChg chg="addSp modSp">
        <pc:chgData name="Jeffrey Sonola" userId="S::jsonola@microsoft.com::cd9df610-0224-4b3f-8054-17d9a3117f3f" providerId="AD" clId="Web-{A9E3BFEA-FB79-4401-9EAD-EE35E4A2D9BA}" dt="2021-09-14T15:51:34.553" v="7" actId="14100"/>
        <pc:sldMkLst>
          <pc:docMk/>
          <pc:sldMk cId="4108220385" sldId="2012"/>
        </pc:sldMkLst>
        <pc:picChg chg="add mod">
          <ac:chgData name="Jeffrey Sonola" userId="S::jsonola@microsoft.com::cd9df610-0224-4b3f-8054-17d9a3117f3f" providerId="AD" clId="Web-{A9E3BFEA-FB79-4401-9EAD-EE35E4A2D9BA}" dt="2021-09-14T15:51:34.553" v="7" actId="14100"/>
          <ac:picMkLst>
            <pc:docMk/>
            <pc:sldMk cId="4108220385" sldId="2012"/>
            <ac:picMk id="5" creationId="{59F18442-6A51-4DAE-B46E-7CCC18C68791}"/>
          </ac:picMkLst>
        </pc:picChg>
      </pc:sldChg>
      <pc:sldChg chg="modSp">
        <pc:chgData name="Jeffrey Sonola" userId="S::jsonola@microsoft.com::cd9df610-0224-4b3f-8054-17d9a3117f3f" providerId="AD" clId="Web-{A9E3BFEA-FB79-4401-9EAD-EE35E4A2D9BA}" dt="2021-09-14T15:51:51.695" v="15"/>
        <pc:sldMkLst>
          <pc:docMk/>
          <pc:sldMk cId="1048029976" sldId="2019"/>
        </pc:sldMkLst>
        <pc:graphicFrameChg chg="mod modGraphic">
          <ac:chgData name="Jeffrey Sonola" userId="S::jsonola@microsoft.com::cd9df610-0224-4b3f-8054-17d9a3117f3f" providerId="AD" clId="Web-{A9E3BFEA-FB79-4401-9EAD-EE35E4A2D9BA}" dt="2021-09-14T15:51:51.695" v="15"/>
          <ac:graphicFrameMkLst>
            <pc:docMk/>
            <pc:sldMk cId="1048029976" sldId="2019"/>
            <ac:graphicFrameMk id="5" creationId="{D9FC8785-6303-40DA-8D42-AC55CA543A5B}"/>
          </ac:graphicFrameMkLst>
        </pc:graphicFrameChg>
      </pc:sldChg>
    </pc:docChg>
  </pc:docChgLst>
  <pc:docChgLst>
    <pc:chgData name="Nick Miller (PFE)" userId="afe30545-da51-4cda-82da-aebfb9951a6d" providerId="ADAL" clId="{61F0A804-CDF9-45B2-887D-44C5ABE1A4EA}"/>
    <pc:docChg chg="undo custSel modSld">
      <pc:chgData name="Nick Miller (PFE)" userId="afe30545-da51-4cda-82da-aebfb9951a6d" providerId="ADAL" clId="{61F0A804-CDF9-45B2-887D-44C5ABE1A4EA}" dt="2020-03-27T17:52:56.410" v="180"/>
      <pc:docMkLst>
        <pc:docMk/>
      </pc:docMkLst>
      <pc:sldChg chg="modSp mod addCm">
        <pc:chgData name="Nick Miller (PFE)" userId="afe30545-da51-4cda-82da-aebfb9951a6d" providerId="ADAL" clId="{61F0A804-CDF9-45B2-887D-44C5ABE1A4EA}" dt="2020-03-27T17:43:05.283" v="35" actId="255"/>
        <pc:sldMkLst>
          <pc:docMk/>
          <pc:sldMk cId="1325058836" sldId="256"/>
        </pc:sldMkLst>
        <pc:spChg chg="mod">
          <ac:chgData name="Nick Miller (PFE)" userId="afe30545-da51-4cda-82da-aebfb9951a6d" providerId="ADAL" clId="{61F0A804-CDF9-45B2-887D-44C5ABE1A4EA}" dt="2020-03-27T17:43:05.283" v="35" actId="255"/>
          <ac:spMkLst>
            <pc:docMk/>
            <pc:sldMk cId="1325058836" sldId="256"/>
            <ac:spMk id="6" creationId="{00000000-0000-0000-0000-000000000000}"/>
          </ac:spMkLst>
        </pc:spChg>
      </pc:sldChg>
      <pc:sldChg chg="modSp modAnim addCm">
        <pc:chgData name="Nick Miller (PFE)" userId="afe30545-da51-4cda-82da-aebfb9951a6d" providerId="ADAL" clId="{61F0A804-CDF9-45B2-887D-44C5ABE1A4EA}" dt="2020-03-27T17:52:56.410" v="180"/>
        <pc:sldMkLst>
          <pc:docMk/>
          <pc:sldMk cId="1147957374" sldId="282"/>
        </pc:sldMkLst>
        <pc:spChg chg="mod">
          <ac:chgData name="Nick Miller (PFE)" userId="afe30545-da51-4cda-82da-aebfb9951a6d" providerId="ADAL" clId="{61F0A804-CDF9-45B2-887D-44C5ABE1A4EA}" dt="2020-03-27T17:52:02.290" v="176" actId="20577"/>
          <ac:spMkLst>
            <pc:docMk/>
            <pc:sldMk cId="1147957374" sldId="282"/>
            <ac:spMk id="3" creationId="{065DB3F3-B1C0-4A47-B824-7B6D35D60263}"/>
          </ac:spMkLst>
        </pc:spChg>
      </pc:sldChg>
      <pc:sldChg chg="addSp modSp mod addCm">
        <pc:chgData name="Nick Miller (PFE)" userId="afe30545-da51-4cda-82da-aebfb9951a6d" providerId="ADAL" clId="{61F0A804-CDF9-45B2-887D-44C5ABE1A4EA}" dt="2020-03-27T17:46:22.763" v="94"/>
        <pc:sldMkLst>
          <pc:docMk/>
          <pc:sldMk cId="1831265177" sldId="1990"/>
        </pc:sldMkLst>
        <pc:spChg chg="mod">
          <ac:chgData name="Nick Miller (PFE)" userId="afe30545-da51-4cda-82da-aebfb9951a6d" providerId="ADAL" clId="{61F0A804-CDF9-45B2-887D-44C5ABE1A4EA}" dt="2020-03-27T17:45:02.963" v="86" actId="6549"/>
          <ac:spMkLst>
            <pc:docMk/>
            <pc:sldMk cId="1831265177" sldId="1990"/>
            <ac:spMk id="3" creationId="{00000000-0000-0000-0000-000000000000}"/>
          </ac:spMkLst>
        </pc:spChg>
        <pc:spChg chg="add mod">
          <ac:chgData name="Nick Miller (PFE)" userId="afe30545-da51-4cda-82da-aebfb9951a6d" providerId="ADAL" clId="{61F0A804-CDF9-45B2-887D-44C5ABE1A4EA}" dt="2020-03-27T17:46:03.991" v="93" actId="1076"/>
          <ac:spMkLst>
            <pc:docMk/>
            <pc:sldMk cId="1831265177" sldId="1990"/>
            <ac:spMk id="4" creationId="{15A410C4-ECF6-4CE4-AFB5-6802D3F57A50}"/>
          </ac:spMkLst>
        </pc:spChg>
      </pc:sldChg>
    </pc:docChg>
  </pc:docChgLst>
  <pc:docChgLst>
    <pc:chgData name="Christopher Weaver" userId="2d47d5c7-389a-4b91-8fc5-dfad12ad20c7" providerId="ADAL" clId="{5CF8414D-DD64-45CF-ABA0-2AD471CE515C}"/>
    <pc:docChg chg="modSld">
      <pc:chgData name="Christopher Weaver" userId="2d47d5c7-389a-4b91-8fc5-dfad12ad20c7" providerId="ADAL" clId="{5CF8414D-DD64-45CF-ABA0-2AD471CE515C}" dt="2021-06-03T19:32:02.566" v="5" actId="729"/>
      <pc:docMkLst>
        <pc:docMk/>
      </pc:docMkLst>
      <pc:sldChg chg="mod modShow">
        <pc:chgData name="Christopher Weaver" userId="2d47d5c7-389a-4b91-8fc5-dfad12ad20c7" providerId="ADAL" clId="{5CF8414D-DD64-45CF-ABA0-2AD471CE515C}" dt="2021-06-03T19:31:49.492" v="2" actId="729"/>
        <pc:sldMkLst>
          <pc:docMk/>
          <pc:sldMk cId="1185016363" sldId="2014"/>
        </pc:sldMkLst>
      </pc:sldChg>
      <pc:sldChg chg="mod modShow modNotesTx">
        <pc:chgData name="Christopher Weaver" userId="2d47d5c7-389a-4b91-8fc5-dfad12ad20c7" providerId="ADAL" clId="{5CF8414D-DD64-45CF-ABA0-2AD471CE515C}" dt="2021-06-03T19:31:56.018" v="3" actId="729"/>
        <pc:sldMkLst>
          <pc:docMk/>
          <pc:sldMk cId="4061991580" sldId="2015"/>
        </pc:sldMkLst>
      </pc:sldChg>
      <pc:sldChg chg="mod modShow">
        <pc:chgData name="Christopher Weaver" userId="2d47d5c7-389a-4b91-8fc5-dfad12ad20c7" providerId="ADAL" clId="{5CF8414D-DD64-45CF-ABA0-2AD471CE515C}" dt="2021-06-03T19:31:59.800" v="4" actId="729"/>
        <pc:sldMkLst>
          <pc:docMk/>
          <pc:sldMk cId="3105429849" sldId="2016"/>
        </pc:sldMkLst>
      </pc:sldChg>
      <pc:sldChg chg="mod modShow">
        <pc:chgData name="Christopher Weaver" userId="2d47d5c7-389a-4b91-8fc5-dfad12ad20c7" providerId="ADAL" clId="{5CF8414D-DD64-45CF-ABA0-2AD471CE515C}" dt="2021-06-03T19:32:02.566" v="5" actId="729"/>
        <pc:sldMkLst>
          <pc:docMk/>
          <pc:sldMk cId="3289401503" sldId="2017"/>
        </pc:sldMkLst>
      </pc:sldChg>
    </pc:docChg>
  </pc:docChgLst>
  <pc:docChgLst>
    <pc:chgData name="Guest User" providerId="Windows Live" clId="Web-{1CA25272-7389-473C-B207-E178EFC5BA88}"/>
    <pc:docChg chg="addSld delSld modSld sldOrd addMainMaster">
      <pc:chgData name="Guest User" userId="" providerId="Windows Live" clId="Web-{1CA25272-7389-473C-B207-E178EFC5BA88}" dt="2020-08-23T21:50:36.484" v="23"/>
      <pc:docMkLst>
        <pc:docMk/>
      </pc:docMkLst>
      <pc:sldChg chg="addSp delSp modSp mod setBg">
        <pc:chgData name="Guest User" userId="" providerId="Windows Live" clId="Web-{1CA25272-7389-473C-B207-E178EFC5BA88}" dt="2020-08-23T21:47:24.112" v="20"/>
        <pc:sldMkLst>
          <pc:docMk/>
          <pc:sldMk cId="1325058836" sldId="256"/>
        </pc:sldMkLst>
        <pc:spChg chg="add del">
          <ac:chgData name="Guest User" userId="" providerId="Windows Live" clId="Web-{1CA25272-7389-473C-B207-E178EFC5BA88}" dt="2020-08-23T21:42:33.577" v="6"/>
          <ac:spMkLst>
            <pc:docMk/>
            <pc:sldMk cId="1325058836" sldId="256"/>
            <ac:spMk id="2" creationId="{7B876C23-F025-4E5F-BAD9-7DFEE668B383}"/>
          </ac:spMkLst>
        </pc:spChg>
        <pc:spChg chg="mod">
          <ac:chgData name="Guest User" userId="" providerId="Windows Live" clId="Web-{1CA25272-7389-473C-B207-E178EFC5BA88}" dt="2020-08-23T21:47:24.112" v="20"/>
          <ac:spMkLst>
            <pc:docMk/>
            <pc:sldMk cId="1325058836" sldId="256"/>
            <ac:spMk id="6" creationId="{00000000-0000-0000-0000-000000000000}"/>
          </ac:spMkLst>
        </pc:spChg>
      </pc:sldChg>
      <pc:sldChg chg="del">
        <pc:chgData name="Guest User" userId="" providerId="Windows Live" clId="Web-{1CA25272-7389-473C-B207-E178EFC5BA88}" dt="2020-08-23T21:49:57.731" v="21"/>
        <pc:sldMkLst>
          <pc:docMk/>
          <pc:sldMk cId="1076368552" sldId="276"/>
        </pc:sldMkLst>
      </pc:sldChg>
      <pc:sldChg chg="add ord">
        <pc:chgData name="Guest User" userId="" providerId="Windows Live" clId="Web-{1CA25272-7389-473C-B207-E178EFC5BA88}" dt="2020-08-23T21:50:36.484" v="23"/>
        <pc:sldMkLst>
          <pc:docMk/>
          <pc:sldMk cId="1726115058" sldId="2006"/>
        </pc:sldMkLst>
      </pc:sldChg>
      <pc:sldMasterChg chg="add addSldLayout">
        <pc:chgData name="Guest User" userId="" providerId="Windows Live" clId="Web-{1CA25272-7389-473C-B207-E178EFC5BA88}" dt="2020-08-23T21:50:22.889" v="22"/>
        <pc:sldMasterMkLst>
          <pc:docMk/>
          <pc:sldMasterMk cId="3138866671" sldId="2147483990"/>
        </pc:sldMasterMkLst>
        <pc:sldLayoutChg chg="add">
          <pc:chgData name="Guest User" userId="" providerId="Windows Live" clId="Web-{1CA25272-7389-473C-B207-E178EFC5BA88}" dt="2020-08-23T21:50:22.889" v="22"/>
          <pc:sldLayoutMkLst>
            <pc:docMk/>
            <pc:sldMasterMk cId="3138866671" sldId="2147483990"/>
            <pc:sldLayoutMk cId="1225445844" sldId="2147483991"/>
          </pc:sldLayoutMkLst>
        </pc:sldLayoutChg>
        <pc:sldLayoutChg chg="add">
          <pc:chgData name="Guest User" userId="" providerId="Windows Live" clId="Web-{1CA25272-7389-473C-B207-E178EFC5BA88}" dt="2020-08-23T21:50:22.889" v="22"/>
          <pc:sldLayoutMkLst>
            <pc:docMk/>
            <pc:sldMasterMk cId="3138866671" sldId="2147483990"/>
            <pc:sldLayoutMk cId="2128073608" sldId="2147483992"/>
          </pc:sldLayoutMkLst>
        </pc:sldLayoutChg>
        <pc:sldLayoutChg chg="add">
          <pc:chgData name="Guest User" userId="" providerId="Windows Live" clId="Web-{1CA25272-7389-473C-B207-E178EFC5BA88}" dt="2020-08-23T21:50:22.889" v="22"/>
          <pc:sldLayoutMkLst>
            <pc:docMk/>
            <pc:sldMasterMk cId="3138866671" sldId="2147483990"/>
            <pc:sldLayoutMk cId="2611871824" sldId="2147483993"/>
          </pc:sldLayoutMkLst>
        </pc:sldLayoutChg>
        <pc:sldLayoutChg chg="add">
          <pc:chgData name="Guest User" userId="" providerId="Windows Live" clId="Web-{1CA25272-7389-473C-B207-E178EFC5BA88}" dt="2020-08-23T21:50:22.889" v="22"/>
          <pc:sldLayoutMkLst>
            <pc:docMk/>
            <pc:sldMasterMk cId="3138866671" sldId="2147483990"/>
            <pc:sldLayoutMk cId="2381726192" sldId="2147483994"/>
          </pc:sldLayoutMkLst>
        </pc:sldLayoutChg>
        <pc:sldLayoutChg chg="add">
          <pc:chgData name="Guest User" userId="" providerId="Windows Live" clId="Web-{1CA25272-7389-473C-B207-E178EFC5BA88}" dt="2020-08-23T21:50:22.889" v="22"/>
          <pc:sldLayoutMkLst>
            <pc:docMk/>
            <pc:sldMasterMk cId="3138866671" sldId="2147483990"/>
            <pc:sldLayoutMk cId="3633400075" sldId="2147483995"/>
          </pc:sldLayoutMkLst>
        </pc:sldLayoutChg>
        <pc:sldLayoutChg chg="add">
          <pc:chgData name="Guest User" userId="" providerId="Windows Live" clId="Web-{1CA25272-7389-473C-B207-E178EFC5BA88}" dt="2020-08-23T21:50:22.889" v="22"/>
          <pc:sldLayoutMkLst>
            <pc:docMk/>
            <pc:sldMasterMk cId="3138866671" sldId="2147483990"/>
            <pc:sldLayoutMk cId="1025559163" sldId="2147483996"/>
          </pc:sldLayoutMkLst>
        </pc:sldLayoutChg>
        <pc:sldLayoutChg chg="add">
          <pc:chgData name="Guest User" userId="" providerId="Windows Live" clId="Web-{1CA25272-7389-473C-B207-E178EFC5BA88}" dt="2020-08-23T21:50:22.889" v="22"/>
          <pc:sldLayoutMkLst>
            <pc:docMk/>
            <pc:sldMasterMk cId="3138866671" sldId="2147483990"/>
            <pc:sldLayoutMk cId="978647275" sldId="2147483997"/>
          </pc:sldLayoutMkLst>
        </pc:sldLayoutChg>
        <pc:sldLayoutChg chg="add">
          <pc:chgData name="Guest User" userId="" providerId="Windows Live" clId="Web-{1CA25272-7389-473C-B207-E178EFC5BA88}" dt="2020-08-23T21:50:22.889" v="22"/>
          <pc:sldLayoutMkLst>
            <pc:docMk/>
            <pc:sldMasterMk cId="3138866671" sldId="2147483990"/>
            <pc:sldLayoutMk cId="3116855824" sldId="2147483998"/>
          </pc:sldLayoutMkLst>
        </pc:sldLayoutChg>
        <pc:sldLayoutChg chg="add">
          <pc:chgData name="Guest User" userId="" providerId="Windows Live" clId="Web-{1CA25272-7389-473C-B207-E178EFC5BA88}" dt="2020-08-23T21:50:22.889" v="22"/>
          <pc:sldLayoutMkLst>
            <pc:docMk/>
            <pc:sldMasterMk cId="3138866671" sldId="2147483990"/>
            <pc:sldLayoutMk cId="3566546305" sldId="2147483999"/>
          </pc:sldLayoutMkLst>
        </pc:sldLayoutChg>
        <pc:sldLayoutChg chg="add">
          <pc:chgData name="Guest User" userId="" providerId="Windows Live" clId="Web-{1CA25272-7389-473C-B207-E178EFC5BA88}" dt="2020-08-23T21:50:22.889" v="22"/>
          <pc:sldLayoutMkLst>
            <pc:docMk/>
            <pc:sldMasterMk cId="3138866671" sldId="2147483990"/>
            <pc:sldLayoutMk cId="1401725589" sldId="2147484000"/>
          </pc:sldLayoutMkLst>
        </pc:sldLayoutChg>
        <pc:sldLayoutChg chg="add">
          <pc:chgData name="Guest User" userId="" providerId="Windows Live" clId="Web-{1CA25272-7389-473C-B207-E178EFC5BA88}" dt="2020-08-23T21:50:22.889" v="22"/>
          <pc:sldLayoutMkLst>
            <pc:docMk/>
            <pc:sldMasterMk cId="3138866671" sldId="2147483990"/>
            <pc:sldLayoutMk cId="1716957870" sldId="2147484001"/>
          </pc:sldLayoutMkLst>
        </pc:sldLayoutChg>
        <pc:sldLayoutChg chg="add">
          <pc:chgData name="Guest User" userId="" providerId="Windows Live" clId="Web-{1CA25272-7389-473C-B207-E178EFC5BA88}" dt="2020-08-23T21:50:22.889" v="22"/>
          <pc:sldLayoutMkLst>
            <pc:docMk/>
            <pc:sldMasterMk cId="3138866671" sldId="2147483990"/>
            <pc:sldLayoutMk cId="482717613" sldId="2147484002"/>
          </pc:sldLayoutMkLst>
        </pc:sldLayoutChg>
        <pc:sldLayoutChg chg="add">
          <pc:chgData name="Guest User" userId="" providerId="Windows Live" clId="Web-{1CA25272-7389-473C-B207-E178EFC5BA88}" dt="2020-08-23T21:50:22.889" v="22"/>
          <pc:sldLayoutMkLst>
            <pc:docMk/>
            <pc:sldMasterMk cId="3138866671" sldId="2147483990"/>
            <pc:sldLayoutMk cId="1508755777" sldId="2147484003"/>
          </pc:sldLayoutMkLst>
        </pc:sldLayoutChg>
        <pc:sldLayoutChg chg="add">
          <pc:chgData name="Guest User" userId="" providerId="Windows Live" clId="Web-{1CA25272-7389-473C-B207-E178EFC5BA88}" dt="2020-08-23T21:50:22.889" v="22"/>
          <pc:sldLayoutMkLst>
            <pc:docMk/>
            <pc:sldMasterMk cId="3138866671" sldId="2147483990"/>
            <pc:sldLayoutMk cId="756118918" sldId="2147484004"/>
          </pc:sldLayoutMkLst>
        </pc:sldLayoutChg>
        <pc:sldLayoutChg chg="add">
          <pc:chgData name="Guest User" userId="" providerId="Windows Live" clId="Web-{1CA25272-7389-473C-B207-E178EFC5BA88}" dt="2020-08-23T21:50:22.889" v="22"/>
          <pc:sldLayoutMkLst>
            <pc:docMk/>
            <pc:sldMasterMk cId="3138866671" sldId="2147483990"/>
            <pc:sldLayoutMk cId="434779669" sldId="2147484005"/>
          </pc:sldLayoutMkLst>
        </pc:sldLayoutChg>
        <pc:sldLayoutChg chg="add">
          <pc:chgData name="Guest User" userId="" providerId="Windows Live" clId="Web-{1CA25272-7389-473C-B207-E178EFC5BA88}" dt="2020-08-23T21:50:22.889" v="22"/>
          <pc:sldLayoutMkLst>
            <pc:docMk/>
            <pc:sldMasterMk cId="3138866671" sldId="2147483990"/>
            <pc:sldLayoutMk cId="3370073269" sldId="2147484006"/>
          </pc:sldLayoutMkLst>
        </pc:sldLayoutChg>
        <pc:sldLayoutChg chg="add">
          <pc:chgData name="Guest User" userId="" providerId="Windows Live" clId="Web-{1CA25272-7389-473C-B207-E178EFC5BA88}" dt="2020-08-23T21:50:22.889" v="22"/>
          <pc:sldLayoutMkLst>
            <pc:docMk/>
            <pc:sldMasterMk cId="3138866671" sldId="2147483990"/>
            <pc:sldLayoutMk cId="1641343874" sldId="2147484007"/>
          </pc:sldLayoutMkLst>
        </pc:sldLayoutChg>
        <pc:sldLayoutChg chg="add">
          <pc:chgData name="Guest User" userId="" providerId="Windows Live" clId="Web-{1CA25272-7389-473C-B207-E178EFC5BA88}" dt="2020-08-23T21:50:22.889" v="22"/>
          <pc:sldLayoutMkLst>
            <pc:docMk/>
            <pc:sldMasterMk cId="3138866671" sldId="2147483990"/>
            <pc:sldLayoutMk cId="2216216901" sldId="2147484008"/>
          </pc:sldLayoutMkLst>
        </pc:sldLayoutChg>
        <pc:sldLayoutChg chg="add">
          <pc:chgData name="Guest User" userId="" providerId="Windows Live" clId="Web-{1CA25272-7389-473C-B207-E178EFC5BA88}" dt="2020-08-23T21:50:22.889" v="22"/>
          <pc:sldLayoutMkLst>
            <pc:docMk/>
            <pc:sldMasterMk cId="3138866671" sldId="2147483990"/>
            <pc:sldLayoutMk cId="3320697965" sldId="2147484009"/>
          </pc:sldLayoutMkLst>
        </pc:sldLayoutChg>
        <pc:sldLayoutChg chg="add">
          <pc:chgData name="Guest User" userId="" providerId="Windows Live" clId="Web-{1CA25272-7389-473C-B207-E178EFC5BA88}" dt="2020-08-23T21:50:22.889" v="22"/>
          <pc:sldLayoutMkLst>
            <pc:docMk/>
            <pc:sldMasterMk cId="3138866671" sldId="2147483990"/>
            <pc:sldLayoutMk cId="2881002593" sldId="2147484010"/>
          </pc:sldLayoutMkLst>
        </pc:sldLayoutChg>
        <pc:sldLayoutChg chg="add">
          <pc:chgData name="Guest User" userId="" providerId="Windows Live" clId="Web-{1CA25272-7389-473C-B207-E178EFC5BA88}" dt="2020-08-23T21:50:22.889" v="22"/>
          <pc:sldLayoutMkLst>
            <pc:docMk/>
            <pc:sldMasterMk cId="3138866671" sldId="2147483990"/>
            <pc:sldLayoutMk cId="3491582711" sldId="2147484011"/>
          </pc:sldLayoutMkLst>
        </pc:sldLayoutChg>
        <pc:sldLayoutChg chg="add">
          <pc:chgData name="Guest User" userId="" providerId="Windows Live" clId="Web-{1CA25272-7389-473C-B207-E178EFC5BA88}" dt="2020-08-23T21:50:22.889" v="22"/>
          <pc:sldLayoutMkLst>
            <pc:docMk/>
            <pc:sldMasterMk cId="3138866671" sldId="2147483990"/>
            <pc:sldLayoutMk cId="526330969" sldId="2147484012"/>
          </pc:sldLayoutMkLst>
        </pc:sldLayoutChg>
        <pc:sldLayoutChg chg="add">
          <pc:chgData name="Guest User" userId="" providerId="Windows Live" clId="Web-{1CA25272-7389-473C-B207-E178EFC5BA88}" dt="2020-08-23T21:50:22.889" v="22"/>
          <pc:sldLayoutMkLst>
            <pc:docMk/>
            <pc:sldMasterMk cId="3138866671" sldId="2147483990"/>
            <pc:sldLayoutMk cId="2353817919" sldId="2147484013"/>
          </pc:sldLayoutMkLst>
        </pc:sldLayoutChg>
        <pc:sldLayoutChg chg="add">
          <pc:chgData name="Guest User" userId="" providerId="Windows Live" clId="Web-{1CA25272-7389-473C-B207-E178EFC5BA88}" dt="2020-08-23T21:50:22.889" v="22"/>
          <pc:sldLayoutMkLst>
            <pc:docMk/>
            <pc:sldMasterMk cId="3138866671" sldId="2147483990"/>
            <pc:sldLayoutMk cId="2570858718" sldId="2147484014"/>
          </pc:sldLayoutMkLst>
        </pc:sldLayoutChg>
        <pc:sldLayoutChg chg="add">
          <pc:chgData name="Guest User" userId="" providerId="Windows Live" clId="Web-{1CA25272-7389-473C-B207-E178EFC5BA88}" dt="2020-08-23T21:50:22.889" v="22"/>
          <pc:sldLayoutMkLst>
            <pc:docMk/>
            <pc:sldMasterMk cId="3138866671" sldId="2147483990"/>
            <pc:sldLayoutMk cId="1130694076" sldId="2147484015"/>
          </pc:sldLayoutMkLst>
        </pc:sldLayoutChg>
        <pc:sldLayoutChg chg="add">
          <pc:chgData name="Guest User" userId="" providerId="Windows Live" clId="Web-{1CA25272-7389-473C-B207-E178EFC5BA88}" dt="2020-08-23T21:50:22.889" v="22"/>
          <pc:sldLayoutMkLst>
            <pc:docMk/>
            <pc:sldMasterMk cId="3138866671" sldId="2147483990"/>
            <pc:sldLayoutMk cId="1924444472" sldId="2147484016"/>
          </pc:sldLayoutMkLst>
        </pc:sldLayoutChg>
        <pc:sldLayoutChg chg="add">
          <pc:chgData name="Guest User" userId="" providerId="Windows Live" clId="Web-{1CA25272-7389-473C-B207-E178EFC5BA88}" dt="2020-08-23T21:50:22.889" v="22"/>
          <pc:sldLayoutMkLst>
            <pc:docMk/>
            <pc:sldMasterMk cId="3138866671" sldId="2147483990"/>
            <pc:sldLayoutMk cId="3237381773" sldId="2147484017"/>
          </pc:sldLayoutMkLst>
        </pc:sldLayoutChg>
        <pc:sldLayoutChg chg="add">
          <pc:chgData name="Guest User" userId="" providerId="Windows Live" clId="Web-{1CA25272-7389-473C-B207-E178EFC5BA88}" dt="2020-08-23T21:50:22.889" v="22"/>
          <pc:sldLayoutMkLst>
            <pc:docMk/>
            <pc:sldMasterMk cId="3138866671" sldId="2147483990"/>
            <pc:sldLayoutMk cId="119041650" sldId="2147484018"/>
          </pc:sldLayoutMkLst>
        </pc:sldLayoutChg>
        <pc:sldLayoutChg chg="add">
          <pc:chgData name="Guest User" userId="" providerId="Windows Live" clId="Web-{1CA25272-7389-473C-B207-E178EFC5BA88}" dt="2020-08-23T21:50:22.889" v="22"/>
          <pc:sldLayoutMkLst>
            <pc:docMk/>
            <pc:sldMasterMk cId="3138866671" sldId="2147483990"/>
            <pc:sldLayoutMk cId="1876849995" sldId="2147484019"/>
          </pc:sldLayoutMkLst>
        </pc:sldLayoutChg>
        <pc:sldLayoutChg chg="add">
          <pc:chgData name="Guest User" userId="" providerId="Windows Live" clId="Web-{1CA25272-7389-473C-B207-E178EFC5BA88}" dt="2020-08-23T21:50:22.889" v="22"/>
          <pc:sldLayoutMkLst>
            <pc:docMk/>
            <pc:sldMasterMk cId="3138866671" sldId="2147483990"/>
            <pc:sldLayoutMk cId="2442093490" sldId="2147484020"/>
          </pc:sldLayoutMkLst>
        </pc:sldLayoutChg>
        <pc:sldLayoutChg chg="add">
          <pc:chgData name="Guest User" userId="" providerId="Windows Live" clId="Web-{1CA25272-7389-473C-B207-E178EFC5BA88}" dt="2020-08-23T21:50:22.889" v="22"/>
          <pc:sldLayoutMkLst>
            <pc:docMk/>
            <pc:sldMasterMk cId="3138866671" sldId="2147483990"/>
            <pc:sldLayoutMk cId="523462488" sldId="2147484021"/>
          </pc:sldLayoutMkLst>
        </pc:sldLayoutChg>
        <pc:sldLayoutChg chg="add">
          <pc:chgData name="Guest User" userId="" providerId="Windows Live" clId="Web-{1CA25272-7389-473C-B207-E178EFC5BA88}" dt="2020-08-23T21:50:22.889" v="22"/>
          <pc:sldLayoutMkLst>
            <pc:docMk/>
            <pc:sldMasterMk cId="3138866671" sldId="2147483990"/>
            <pc:sldLayoutMk cId="3912418055" sldId="2147484022"/>
          </pc:sldLayoutMkLst>
        </pc:sldLayoutChg>
        <pc:sldLayoutChg chg="add">
          <pc:chgData name="Guest User" userId="" providerId="Windows Live" clId="Web-{1CA25272-7389-473C-B207-E178EFC5BA88}" dt="2020-08-23T21:50:22.889" v="22"/>
          <pc:sldLayoutMkLst>
            <pc:docMk/>
            <pc:sldMasterMk cId="3138866671" sldId="2147483990"/>
            <pc:sldLayoutMk cId="1300962889" sldId="2147484023"/>
          </pc:sldLayoutMkLst>
        </pc:sldLayoutChg>
        <pc:sldLayoutChg chg="add">
          <pc:chgData name="Guest User" userId="" providerId="Windows Live" clId="Web-{1CA25272-7389-473C-B207-E178EFC5BA88}" dt="2020-08-23T21:50:22.889" v="22"/>
          <pc:sldLayoutMkLst>
            <pc:docMk/>
            <pc:sldMasterMk cId="3138866671" sldId="2147483990"/>
            <pc:sldLayoutMk cId="2484416189" sldId="2147484024"/>
          </pc:sldLayoutMkLst>
        </pc:sldLayoutChg>
        <pc:sldLayoutChg chg="add">
          <pc:chgData name="Guest User" userId="" providerId="Windows Live" clId="Web-{1CA25272-7389-473C-B207-E178EFC5BA88}" dt="2020-08-23T21:50:22.889" v="22"/>
          <pc:sldLayoutMkLst>
            <pc:docMk/>
            <pc:sldMasterMk cId="3138866671" sldId="2147483990"/>
            <pc:sldLayoutMk cId="618353612" sldId="2147484025"/>
          </pc:sldLayoutMkLst>
        </pc:sldLayoutChg>
        <pc:sldLayoutChg chg="add">
          <pc:chgData name="Guest User" userId="" providerId="Windows Live" clId="Web-{1CA25272-7389-473C-B207-E178EFC5BA88}" dt="2020-08-23T21:50:22.889" v="22"/>
          <pc:sldLayoutMkLst>
            <pc:docMk/>
            <pc:sldMasterMk cId="3138866671" sldId="2147483990"/>
            <pc:sldLayoutMk cId="1184326568" sldId="2147484026"/>
          </pc:sldLayoutMkLst>
        </pc:sldLayoutChg>
        <pc:sldLayoutChg chg="add">
          <pc:chgData name="Guest User" userId="" providerId="Windows Live" clId="Web-{1CA25272-7389-473C-B207-E178EFC5BA88}" dt="2020-08-23T21:50:22.889" v="22"/>
          <pc:sldLayoutMkLst>
            <pc:docMk/>
            <pc:sldMasterMk cId="3138866671" sldId="2147483990"/>
            <pc:sldLayoutMk cId="3795046949" sldId="2147484027"/>
          </pc:sldLayoutMkLst>
        </pc:sldLayoutChg>
        <pc:sldLayoutChg chg="add">
          <pc:chgData name="Guest User" userId="" providerId="Windows Live" clId="Web-{1CA25272-7389-473C-B207-E178EFC5BA88}" dt="2020-08-23T21:50:22.889" v="22"/>
          <pc:sldLayoutMkLst>
            <pc:docMk/>
            <pc:sldMasterMk cId="3138866671" sldId="2147483990"/>
            <pc:sldLayoutMk cId="1831624703" sldId="2147484028"/>
          </pc:sldLayoutMkLst>
        </pc:sldLayoutChg>
        <pc:sldLayoutChg chg="add">
          <pc:chgData name="Guest User" userId="" providerId="Windows Live" clId="Web-{1CA25272-7389-473C-B207-E178EFC5BA88}" dt="2020-08-23T21:50:22.889" v="22"/>
          <pc:sldLayoutMkLst>
            <pc:docMk/>
            <pc:sldMasterMk cId="3138866671" sldId="2147483990"/>
            <pc:sldLayoutMk cId="3255432458" sldId="2147484029"/>
          </pc:sldLayoutMkLst>
        </pc:sldLayoutChg>
        <pc:sldLayoutChg chg="add">
          <pc:chgData name="Guest User" userId="" providerId="Windows Live" clId="Web-{1CA25272-7389-473C-B207-E178EFC5BA88}" dt="2020-08-23T21:50:22.889" v="22"/>
          <pc:sldLayoutMkLst>
            <pc:docMk/>
            <pc:sldMasterMk cId="3138866671" sldId="2147483990"/>
            <pc:sldLayoutMk cId="774246453" sldId="2147484030"/>
          </pc:sldLayoutMkLst>
        </pc:sldLayoutChg>
        <pc:sldLayoutChg chg="add">
          <pc:chgData name="Guest User" userId="" providerId="Windows Live" clId="Web-{1CA25272-7389-473C-B207-E178EFC5BA88}" dt="2020-08-23T21:50:22.889" v="22"/>
          <pc:sldLayoutMkLst>
            <pc:docMk/>
            <pc:sldMasterMk cId="3138866671" sldId="2147483990"/>
            <pc:sldLayoutMk cId="1847334346" sldId="2147484031"/>
          </pc:sldLayoutMkLst>
        </pc:sldLayoutChg>
        <pc:sldLayoutChg chg="add">
          <pc:chgData name="Guest User" userId="" providerId="Windows Live" clId="Web-{1CA25272-7389-473C-B207-E178EFC5BA88}" dt="2020-08-23T21:50:22.889" v="22"/>
          <pc:sldLayoutMkLst>
            <pc:docMk/>
            <pc:sldMasterMk cId="3138866671" sldId="2147483990"/>
            <pc:sldLayoutMk cId="161492002" sldId="2147484032"/>
          </pc:sldLayoutMkLst>
        </pc:sldLayoutChg>
        <pc:sldLayoutChg chg="add">
          <pc:chgData name="Guest User" userId="" providerId="Windows Live" clId="Web-{1CA25272-7389-473C-B207-E178EFC5BA88}" dt="2020-08-23T21:50:22.889" v="22"/>
          <pc:sldLayoutMkLst>
            <pc:docMk/>
            <pc:sldMasterMk cId="3138866671" sldId="2147483990"/>
            <pc:sldLayoutMk cId="349658073" sldId="2147484033"/>
          </pc:sldLayoutMkLst>
        </pc:sldLayoutChg>
        <pc:sldLayoutChg chg="add">
          <pc:chgData name="Guest User" userId="" providerId="Windows Live" clId="Web-{1CA25272-7389-473C-B207-E178EFC5BA88}" dt="2020-08-23T21:50:22.889" v="22"/>
          <pc:sldLayoutMkLst>
            <pc:docMk/>
            <pc:sldMasterMk cId="3138866671" sldId="2147483990"/>
            <pc:sldLayoutMk cId="238762808" sldId="2147484034"/>
          </pc:sldLayoutMkLst>
        </pc:sldLayoutChg>
      </pc:sldMasterChg>
    </pc:docChg>
  </pc:docChgLst>
  <pc:docChgLst>
    <pc:chgData name="Guest User" providerId="Windows Live" clId="Web-{08218534-BFED-423F-9584-1ED3EFAAA5F0}"/>
    <pc:docChg chg="modSld">
      <pc:chgData name="Guest User" userId="" providerId="Windows Live" clId="Web-{08218534-BFED-423F-9584-1ED3EFAAA5F0}" dt="2020-08-24T22:52:48.512" v="10" actId="20577"/>
      <pc:docMkLst>
        <pc:docMk/>
      </pc:docMkLst>
      <pc:sldChg chg="modSp">
        <pc:chgData name="Guest User" userId="" providerId="Windows Live" clId="Web-{08218534-BFED-423F-9584-1ED3EFAAA5F0}" dt="2020-08-24T22:51:59.259" v="8" actId="20577"/>
        <pc:sldMkLst>
          <pc:docMk/>
          <pc:sldMk cId="3716265243" sldId="1966"/>
        </pc:sldMkLst>
        <pc:spChg chg="mod">
          <ac:chgData name="Guest User" userId="" providerId="Windows Live" clId="Web-{08218534-BFED-423F-9584-1ED3EFAAA5F0}" dt="2020-08-24T22:51:59.259" v="8" actId="20577"/>
          <ac:spMkLst>
            <pc:docMk/>
            <pc:sldMk cId="3716265243" sldId="1966"/>
            <ac:spMk id="2" creationId="{C962C15F-95E3-481D-A0CF-AE6555E28DA2}"/>
          </ac:spMkLst>
        </pc:spChg>
      </pc:sldChg>
      <pc:sldChg chg="modSp">
        <pc:chgData name="Guest User" userId="" providerId="Windows Live" clId="Web-{08218534-BFED-423F-9584-1ED3EFAAA5F0}" dt="2020-08-24T22:51:50.884" v="5" actId="20577"/>
        <pc:sldMkLst>
          <pc:docMk/>
          <pc:sldMk cId="2363988451" sldId="1975"/>
        </pc:sldMkLst>
        <pc:spChg chg="mod">
          <ac:chgData name="Guest User" userId="" providerId="Windows Live" clId="Web-{08218534-BFED-423F-9584-1ED3EFAAA5F0}" dt="2020-08-24T22:51:50.884" v="5" actId="20577"/>
          <ac:spMkLst>
            <pc:docMk/>
            <pc:sldMk cId="2363988451" sldId="1975"/>
            <ac:spMk id="4" creationId="{CFC532B9-1692-43B5-938B-BB438AC5343F}"/>
          </ac:spMkLst>
        </pc:spChg>
      </pc:sldChg>
      <pc:sldChg chg="modSp">
        <pc:chgData name="Guest User" userId="" providerId="Windows Live" clId="Web-{08218534-BFED-423F-9584-1ED3EFAAA5F0}" dt="2020-08-24T22:50:29.254" v="0" actId="20577"/>
        <pc:sldMkLst>
          <pc:docMk/>
          <pc:sldMk cId="2875695618" sldId="1996"/>
        </pc:sldMkLst>
        <pc:spChg chg="mod">
          <ac:chgData name="Guest User" userId="" providerId="Windows Live" clId="Web-{08218534-BFED-423F-9584-1ED3EFAAA5F0}" dt="2020-08-24T22:50:29.254" v="0" actId="20577"/>
          <ac:spMkLst>
            <pc:docMk/>
            <pc:sldMk cId="2875695618" sldId="1996"/>
            <ac:spMk id="2" creationId="{82E1F057-4164-4917-9DC7-1568A4EDC3E7}"/>
          </ac:spMkLst>
        </pc:spChg>
      </pc:sldChg>
      <pc:sldChg chg="modSp">
        <pc:chgData name="Guest User" userId="" providerId="Windows Live" clId="Web-{08218534-BFED-423F-9584-1ED3EFAAA5F0}" dt="2020-08-24T22:50:46.021" v="1" actId="20577"/>
        <pc:sldMkLst>
          <pc:docMk/>
          <pc:sldMk cId="3612004523" sldId="1997"/>
        </pc:sldMkLst>
        <pc:spChg chg="mod">
          <ac:chgData name="Guest User" userId="" providerId="Windows Live" clId="Web-{08218534-BFED-423F-9584-1ED3EFAAA5F0}" dt="2020-08-24T22:50:46.021" v="1" actId="20577"/>
          <ac:spMkLst>
            <pc:docMk/>
            <pc:sldMk cId="3612004523" sldId="1997"/>
            <ac:spMk id="2" creationId="{82E1F057-4164-4917-9DC7-1568A4EDC3E7}"/>
          </ac:spMkLst>
        </pc:spChg>
      </pc:sldChg>
      <pc:sldChg chg="modSp">
        <pc:chgData name="Guest User" userId="" providerId="Windows Live" clId="Web-{08218534-BFED-423F-9584-1ED3EFAAA5F0}" dt="2020-08-24T22:50:56.787" v="2" actId="20577"/>
        <pc:sldMkLst>
          <pc:docMk/>
          <pc:sldMk cId="4009327331" sldId="1998"/>
        </pc:sldMkLst>
        <pc:spChg chg="mod">
          <ac:chgData name="Guest User" userId="" providerId="Windows Live" clId="Web-{08218534-BFED-423F-9584-1ED3EFAAA5F0}" dt="2020-08-24T22:50:56.787" v="2" actId="20577"/>
          <ac:spMkLst>
            <pc:docMk/>
            <pc:sldMk cId="4009327331" sldId="1998"/>
            <ac:spMk id="4" creationId="{71073A0A-3C23-47F8-B093-E6BFF8C7D470}"/>
          </ac:spMkLst>
        </pc:spChg>
      </pc:sldChg>
      <pc:sldChg chg="modSp">
        <pc:chgData name="Guest User" userId="" providerId="Windows Live" clId="Web-{08218534-BFED-423F-9584-1ED3EFAAA5F0}" dt="2020-08-24T22:51:10.475" v="3" actId="20577"/>
        <pc:sldMkLst>
          <pc:docMk/>
          <pc:sldMk cId="1491234068" sldId="1999"/>
        </pc:sldMkLst>
        <pc:spChg chg="mod">
          <ac:chgData name="Guest User" userId="" providerId="Windows Live" clId="Web-{08218534-BFED-423F-9584-1ED3EFAAA5F0}" dt="2020-08-24T22:51:10.475" v="3" actId="20577"/>
          <ac:spMkLst>
            <pc:docMk/>
            <pc:sldMk cId="1491234068" sldId="1999"/>
            <ac:spMk id="4" creationId="{125E8924-C304-4247-9EF9-F3D3E5B136BE}"/>
          </ac:spMkLst>
        </pc:spChg>
      </pc:sldChg>
      <pc:sldChg chg="modSp">
        <pc:chgData name="Guest User" userId="" providerId="Windows Live" clId="Web-{08218534-BFED-423F-9584-1ED3EFAAA5F0}" dt="2020-08-24T22:51:43.321" v="4" actId="20577"/>
        <pc:sldMkLst>
          <pc:docMk/>
          <pc:sldMk cId="3816319392" sldId="2000"/>
        </pc:sldMkLst>
        <pc:spChg chg="mod">
          <ac:chgData name="Guest User" userId="" providerId="Windows Live" clId="Web-{08218534-BFED-423F-9584-1ED3EFAAA5F0}" dt="2020-08-24T22:51:43.321" v="4" actId="20577"/>
          <ac:spMkLst>
            <pc:docMk/>
            <pc:sldMk cId="3816319392" sldId="2000"/>
            <ac:spMk id="9" creationId="{CFA559AD-4C6A-43CC-BEFA-3713581D3866}"/>
          </ac:spMkLst>
        </pc:spChg>
      </pc:sldChg>
      <pc:sldChg chg="modSp">
        <pc:chgData name="Guest User" userId="" providerId="Windows Live" clId="Web-{08218534-BFED-423F-9584-1ED3EFAAA5F0}" dt="2020-08-24T22:52:15.542" v="9" actId="20577"/>
        <pc:sldMkLst>
          <pc:docMk/>
          <pc:sldMk cId="989663208" sldId="2002"/>
        </pc:sldMkLst>
        <pc:spChg chg="mod">
          <ac:chgData name="Guest User" userId="" providerId="Windows Live" clId="Web-{08218534-BFED-423F-9584-1ED3EFAAA5F0}" dt="2020-08-24T22:52:15.542" v="9" actId="20577"/>
          <ac:spMkLst>
            <pc:docMk/>
            <pc:sldMk cId="989663208" sldId="2002"/>
            <ac:spMk id="2" creationId="{4CFEDFCF-D6E0-4C86-94E6-A5411E3F1AF5}"/>
          </ac:spMkLst>
        </pc:spChg>
      </pc:sldChg>
      <pc:sldChg chg="modSp">
        <pc:chgData name="Guest User" userId="" providerId="Windows Live" clId="Web-{08218534-BFED-423F-9584-1ED3EFAAA5F0}" dt="2020-08-24T22:52:48.512" v="10" actId="20577"/>
        <pc:sldMkLst>
          <pc:docMk/>
          <pc:sldMk cId="3314700211" sldId="2003"/>
        </pc:sldMkLst>
        <pc:spChg chg="mod">
          <ac:chgData name="Guest User" userId="" providerId="Windows Live" clId="Web-{08218534-BFED-423F-9584-1ED3EFAAA5F0}" dt="2020-08-24T22:52:48.512" v="10" actId="20577"/>
          <ac:spMkLst>
            <pc:docMk/>
            <pc:sldMk cId="3314700211" sldId="2003"/>
            <ac:spMk id="2" creationId="{00000000-0000-0000-0000-000000000000}"/>
          </ac:spMkLst>
        </pc:spChg>
      </pc:sldChg>
    </pc:docChg>
  </pc:docChgLst>
  <pc:docChgLst>
    <pc:chgData name="Christopher Weaver" userId="2d47d5c7-389a-4b91-8fc5-dfad12ad20c7" providerId="ADAL" clId="{24CE45E0-C96F-4351-A3AD-D737C8D0F724}"/>
    <pc:docChg chg="custSel modSld">
      <pc:chgData name="Christopher Weaver" userId="2d47d5c7-389a-4b91-8fc5-dfad12ad20c7" providerId="ADAL" clId="{24CE45E0-C96F-4351-A3AD-D737C8D0F724}" dt="2021-02-12T19:31:47.652" v="160" actId="20577"/>
      <pc:docMkLst>
        <pc:docMk/>
      </pc:docMkLst>
      <pc:sldChg chg="modSp mod">
        <pc:chgData name="Christopher Weaver" userId="2d47d5c7-389a-4b91-8fc5-dfad12ad20c7" providerId="ADAL" clId="{24CE45E0-C96F-4351-A3AD-D737C8D0F724}" dt="2021-02-12T19:31:47.652" v="160" actId="20577"/>
        <pc:sldMkLst>
          <pc:docMk/>
          <pc:sldMk cId="2355728576" sldId="278"/>
        </pc:sldMkLst>
        <pc:spChg chg="mod">
          <ac:chgData name="Christopher Weaver" userId="2d47d5c7-389a-4b91-8fc5-dfad12ad20c7" providerId="ADAL" clId="{24CE45E0-C96F-4351-A3AD-D737C8D0F724}" dt="2021-02-12T19:31:47.652" v="160" actId="20577"/>
          <ac:spMkLst>
            <pc:docMk/>
            <pc:sldMk cId="2355728576" sldId="278"/>
            <ac:spMk id="3" creationId="{4C7B2818-D4B6-49AF-BC6D-48A87C308A7A}"/>
          </ac:spMkLst>
        </pc:spChg>
      </pc:sldChg>
      <pc:sldChg chg="addSp modSp mod">
        <pc:chgData name="Christopher Weaver" userId="2d47d5c7-389a-4b91-8fc5-dfad12ad20c7" providerId="ADAL" clId="{24CE45E0-C96F-4351-A3AD-D737C8D0F724}" dt="2021-02-12T19:28:53.450" v="109" actId="20577"/>
        <pc:sldMkLst>
          <pc:docMk/>
          <pc:sldMk cId="2196428951" sldId="2008"/>
        </pc:sldMkLst>
        <pc:spChg chg="mod">
          <ac:chgData name="Christopher Weaver" userId="2d47d5c7-389a-4b91-8fc5-dfad12ad20c7" providerId="ADAL" clId="{24CE45E0-C96F-4351-A3AD-D737C8D0F724}" dt="2021-02-12T19:27:11.653" v="18" actId="20577"/>
          <ac:spMkLst>
            <pc:docMk/>
            <pc:sldMk cId="2196428951" sldId="2008"/>
            <ac:spMk id="2" creationId="{4B90FCF2-EECD-430D-9A80-C888748FFCE6}"/>
          </ac:spMkLst>
        </pc:spChg>
        <pc:spChg chg="add mod">
          <ac:chgData name="Christopher Weaver" userId="2d47d5c7-389a-4b91-8fc5-dfad12ad20c7" providerId="ADAL" clId="{24CE45E0-C96F-4351-A3AD-D737C8D0F724}" dt="2021-02-12T19:28:53.450" v="109" actId="20577"/>
          <ac:spMkLst>
            <pc:docMk/>
            <pc:sldMk cId="2196428951" sldId="2008"/>
            <ac:spMk id="3" creationId="{708A2066-8966-48D0-AA57-13D3E1651218}"/>
          </ac:spMkLst>
        </pc:spChg>
      </pc:sldChg>
      <pc:sldChg chg="modNotesTx">
        <pc:chgData name="Christopher Weaver" userId="2d47d5c7-389a-4b91-8fc5-dfad12ad20c7" providerId="ADAL" clId="{24CE45E0-C96F-4351-A3AD-D737C8D0F724}" dt="2021-02-12T19:27:27.098" v="38" actId="20577"/>
        <pc:sldMkLst>
          <pc:docMk/>
          <pc:sldMk cId="2167425751" sldId="2009"/>
        </pc:sldMkLst>
      </pc:sldChg>
      <pc:sldChg chg="modSp mod modNotesTx">
        <pc:chgData name="Christopher Weaver" userId="2d47d5c7-389a-4b91-8fc5-dfad12ad20c7" providerId="ADAL" clId="{24CE45E0-C96F-4351-A3AD-D737C8D0F724}" dt="2021-02-12T19:28:08.947" v="62" actId="20577"/>
        <pc:sldMkLst>
          <pc:docMk/>
          <pc:sldMk cId="608112121" sldId="2010"/>
        </pc:sldMkLst>
        <pc:graphicFrameChg chg="modGraphic">
          <ac:chgData name="Christopher Weaver" userId="2d47d5c7-389a-4b91-8fc5-dfad12ad20c7" providerId="ADAL" clId="{24CE45E0-C96F-4351-A3AD-D737C8D0F724}" dt="2021-02-12T19:28:00.681" v="53" actId="20577"/>
          <ac:graphicFrameMkLst>
            <pc:docMk/>
            <pc:sldMk cId="608112121" sldId="2010"/>
            <ac:graphicFrameMk id="3" creationId="{BC7AE67D-4F38-4552-98BA-28FAED1B466A}"/>
          </ac:graphicFrameMkLst>
        </pc:graphicFrameChg>
      </pc:sldChg>
      <pc:sldChg chg="modNotesTx">
        <pc:chgData name="Christopher Weaver" userId="2d47d5c7-389a-4b91-8fc5-dfad12ad20c7" providerId="ADAL" clId="{24CE45E0-C96F-4351-A3AD-D737C8D0F724}" dt="2021-02-12T19:29:33.916" v="141" actId="20577"/>
        <pc:sldMkLst>
          <pc:docMk/>
          <pc:sldMk cId="4108220385" sldId="2012"/>
        </pc:sldMkLst>
      </pc:sldChg>
      <pc:sldChg chg="modNotesTx">
        <pc:chgData name="Christopher Weaver" userId="2d47d5c7-389a-4b91-8fc5-dfad12ad20c7" providerId="ADAL" clId="{24CE45E0-C96F-4351-A3AD-D737C8D0F724}" dt="2021-02-12T19:29:13.444" v="121" actId="20577"/>
        <pc:sldMkLst>
          <pc:docMk/>
          <pc:sldMk cId="1120387613" sldId="2013"/>
        </pc:sldMkLst>
      </pc:sldChg>
    </pc:docChg>
  </pc:docChgLst>
</pc:chgInfo>
</file>

<file path=ppt/comments/modernComment_116_8C6990C0.xml><?xml version="1.0" encoding="utf-8"?>
<p188:cmLst xmlns:a="http://schemas.openxmlformats.org/drawingml/2006/main" xmlns:r="http://schemas.openxmlformats.org/officeDocument/2006/relationships" xmlns:p188="http://schemas.microsoft.com/office/powerpoint/2018/8/main">
  <p188:cm id="{7F81CE3F-B122-4B8C-A104-10976BCCCCEC}" authorId="{2B5593C9-F2B6-30DD-4223-2A5BDAEF44D7}" created="2022-08-13T18:56:16.931">
    <pc:sldMkLst xmlns:pc="http://schemas.microsoft.com/office/powerpoint/2013/main/command">
      <pc:docMk/>
      <pc:sldMk cId="2355728576" sldId="278"/>
    </pc:sldMkLst>
    <p188:txBody>
      <a:bodyPr/>
      <a:lstStyle/>
      <a:p>
        <a:r>
          <a:rPr lang="en-US"/>
          <a:t>Should remove the "Administration Overview section due to End-User permissions/scope for this course</a:t>
        </a:r>
      </a:p>
    </p188:txBody>
  </p188:cm>
</p188:cmLst>
</file>

<file path=ppt/comments/modernComment_11A_446C707E.xml><?xml version="1.0" encoding="utf-8"?>
<p188:cmLst xmlns:a="http://schemas.openxmlformats.org/drawingml/2006/main" xmlns:r="http://schemas.openxmlformats.org/officeDocument/2006/relationships" xmlns:p188="http://schemas.microsoft.com/office/powerpoint/2018/8/main">
  <p188:cm id="{94A24822-9A0D-4174-A92C-EEC5B4D83137}" authorId="{2B5593C9-F2B6-30DD-4223-2A5BDAEF44D7}" created="2022-08-13T19:34:29.449">
    <pc:sldMkLst xmlns:pc="http://schemas.microsoft.com/office/powerpoint/2013/main/command">
      <pc:docMk/>
      <pc:sldMk cId="1147957374" sldId="282"/>
    </pc:sldMkLst>
    <p188:txBody>
      <a:bodyPr/>
      <a:lstStyle/>
      <a:p>
        <a:r>
          <a:rPr lang="en-US"/>
          <a:t>Need to update wording on the 3 ways of creating new apps</a:t>
        </a:r>
      </a:p>
    </p188:txBody>
  </p188:cm>
</p188:cmLst>
</file>

<file path=ppt/comments/modernComment_11B_D3A597A0.xml><?xml version="1.0" encoding="utf-8"?>
<p188:cmLst xmlns:a="http://schemas.openxmlformats.org/drawingml/2006/main" xmlns:r="http://schemas.openxmlformats.org/officeDocument/2006/relationships" xmlns:p188="http://schemas.microsoft.com/office/powerpoint/2018/8/main">
  <p188:cm id="{139BC1E8-9E4F-46AA-8A18-155655581609}" authorId="{2B5593C9-F2B6-30DD-4223-2A5BDAEF44D7}" created="2022-08-13T19:34:50.715">
    <pc:sldMkLst xmlns:pc="http://schemas.microsoft.com/office/powerpoint/2013/main/command">
      <pc:docMk/>
      <pc:sldMk cId="3550844832" sldId="283"/>
    </pc:sldMkLst>
    <p188:txBody>
      <a:bodyPr/>
      <a:lstStyle/>
      <a:p>
        <a:r>
          <a:rPr lang="en-US"/>
          <a:t>Remove Admin overview</a:t>
        </a:r>
      </a:p>
    </p188:txBody>
  </p188:cm>
</p188:cmLst>
</file>

<file path=ppt/comments/modernComment_7AE_DD81B51B.xml><?xml version="1.0" encoding="utf-8"?>
<p188:cmLst xmlns:a="http://schemas.openxmlformats.org/drawingml/2006/main" xmlns:r="http://schemas.openxmlformats.org/officeDocument/2006/relationships" xmlns:p188="http://schemas.microsoft.com/office/powerpoint/2018/8/main">
  <p188:cm id="{6DF0FBB6-DFE8-4CB8-959D-1BEE375307D5}" authorId="{2B5593C9-F2B6-30DD-4223-2A5BDAEF44D7}" created="2022-08-13T19:13:33.665">
    <pc:sldMkLst xmlns:pc="http://schemas.microsoft.com/office/powerpoint/2013/main/command">
      <pc:docMk/>
      <pc:sldMk cId="3716265243" sldId="1966"/>
    </pc:sldMkLst>
    <p188:txBody>
      <a:bodyPr/>
      <a:lstStyle/>
      <a:p>
        <a:r>
          <a:rPr lang="en-US"/>
          <a:t>Screenshot out of date, should be updated to reflect "Blank canvas app", "Blank app based on Dataverse" and "Blank website"</a:t>
        </a:r>
      </a:p>
    </p188:txBody>
  </p188:cm>
</p188:cmLst>
</file>

<file path=ppt/comments/modernComment_7BD_676F90EE.xml><?xml version="1.0" encoding="utf-8"?>
<p188:cmLst xmlns:a="http://schemas.openxmlformats.org/drawingml/2006/main" xmlns:r="http://schemas.openxmlformats.org/officeDocument/2006/relationships" xmlns:p188="http://schemas.microsoft.com/office/powerpoint/2018/8/main">
  <p188:cm id="{B74F0835-D96C-46A4-848C-A3D58C844578}" authorId="{2B5593C9-F2B6-30DD-4223-2A5BDAEF44D7}" created="2022-08-13T18:54:48.193">
    <pc:sldMkLst xmlns:pc="http://schemas.microsoft.com/office/powerpoint/2013/main/command">
      <pc:docMk/>
      <pc:sldMk cId="1735364846" sldId="1981"/>
    </pc:sldMkLst>
    <p188:txBody>
      <a:bodyPr/>
      <a:lstStyle/>
      <a:p>
        <a:r>
          <a:rPr lang="en-US"/>
          <a:t>This section should be removed as Users will not have access to Admin Center</a:t>
        </a:r>
      </a:p>
    </p188:txBody>
  </p188:cm>
</p188:cmLst>
</file>

<file path=ppt/comments/modernComment_7C7_D4DE4398.xml><?xml version="1.0" encoding="utf-8"?>
<p188:cmLst xmlns:a="http://schemas.openxmlformats.org/drawingml/2006/main" xmlns:r="http://schemas.openxmlformats.org/officeDocument/2006/relationships" xmlns:p188="http://schemas.microsoft.com/office/powerpoint/2018/8/main">
  <p188:cm id="{5475A610-67B6-41F4-BF16-6A78B587989E}" authorId="{2B5593C9-F2B6-30DD-4223-2A5BDAEF44D7}" created="2022-08-13T19:01:08.290">
    <pc:sldMkLst xmlns:pc="http://schemas.microsoft.com/office/powerpoint/2013/main/command">
      <pc:docMk/>
      <pc:sldMk cId="3571336088" sldId="1991"/>
    </pc:sldMkLst>
    <p188:txBody>
      <a:bodyPr/>
      <a:lstStyle/>
      <a:p>
        <a:r>
          <a:rPr lang="en-US"/>
          <a:t>Is there a lab guide for this that walks users through tenant configuration?</a:t>
        </a:r>
      </a:p>
    </p188:txBody>
  </p188:cm>
</p188:cmLst>
</file>

<file path=ppt/comments/modernComment_7D2_3AFD0FE8.xml><?xml version="1.0" encoding="utf-8"?>
<p188:cmLst xmlns:a="http://schemas.openxmlformats.org/drawingml/2006/main" xmlns:r="http://schemas.openxmlformats.org/officeDocument/2006/relationships" xmlns:p188="http://schemas.microsoft.com/office/powerpoint/2018/8/main">
  <p188:cm id="{5E89C848-2040-4ECB-A381-11C108822E7A}" authorId="{2B5593C9-F2B6-30DD-4223-2A5BDAEF44D7}" created="2022-08-13T19:18:54.231">
    <pc:sldMkLst xmlns:pc="http://schemas.microsoft.com/office/powerpoint/2013/main/command">
      <pc:docMk/>
      <pc:sldMk cId="989663208" sldId="2002"/>
    </pc:sldMkLst>
    <p188:txBody>
      <a:bodyPr/>
      <a:lstStyle/>
      <a:p>
        <a:r>
          <a:rPr lang="en-US"/>
          <a:t>Screenshot should be updated to display current Settings screen</a:t>
        </a:r>
      </a:p>
    </p188:txBody>
  </p188:cm>
</p188:cmLst>
</file>

<file path=ppt/comments/modernComment_7DF_F21D129C.xml><?xml version="1.0" encoding="utf-8"?>
<p188:cmLst xmlns:a="http://schemas.openxmlformats.org/drawingml/2006/main" xmlns:r="http://schemas.openxmlformats.org/officeDocument/2006/relationships" xmlns:p188="http://schemas.microsoft.com/office/powerpoint/2018/8/main">
  <p188:cm id="{B7E4E901-1535-43BB-AAAC-160C8447D81F}" authorId="{2B5593C9-F2B6-30DD-4223-2A5BDAEF44D7}" created="2022-08-13T18:47:08.564">
    <pc:sldMkLst xmlns:pc="http://schemas.microsoft.com/office/powerpoint/2013/main/command">
      <pc:docMk/>
      <pc:sldMk cId="4061991580" sldId="2015"/>
    </pc:sldMkLst>
    <p188:txBody>
      <a:bodyPr/>
      <a:lstStyle/>
      <a:p>
        <a:r>
          <a:rPr lang="en-US"/>
          <a:t>No Power Virtual Agents in IL5</a:t>
        </a:r>
      </a:p>
    </p188:txBody>
  </p188:cm>
</p188:cmLst>
</file>

<file path=ppt/comments/modernComment_7E0_B9191959.xml><?xml version="1.0" encoding="utf-8"?>
<p188:cmLst xmlns:a="http://schemas.openxmlformats.org/drawingml/2006/main" xmlns:r="http://schemas.openxmlformats.org/officeDocument/2006/relationships" xmlns:p188="http://schemas.microsoft.com/office/powerpoint/2018/8/main">
  <p188:cm id="{A0590393-96A9-403C-BCCD-6548BD6E91F6}" authorId="{2B5593C9-F2B6-30DD-4223-2A5BDAEF44D7}" created="2022-08-13T18:46:36.984">
    <pc:sldMkLst xmlns:pc="http://schemas.microsoft.com/office/powerpoint/2013/main/command">
      <pc:docMk/>
      <pc:sldMk cId="3105429849" sldId="2016"/>
    </pc:sldMkLst>
    <p188:txBody>
      <a:bodyPr/>
      <a:lstStyle/>
      <a:p>
        <a:r>
          <a:rPr lang="en-US"/>
          <a:t>There are no Chatbots in A365</a:t>
        </a:r>
      </a:p>
    </p188:txBody>
  </p188:cm>
</p188:cmLst>
</file>

<file path=ppt/comments/modernComment_7E6_A0CF9962.xml><?xml version="1.0" encoding="utf-8"?>
<p188:cmLst xmlns:a="http://schemas.openxmlformats.org/drawingml/2006/main" xmlns:r="http://schemas.openxmlformats.org/officeDocument/2006/relationships" xmlns:p188="http://schemas.microsoft.com/office/powerpoint/2018/8/main">
  <p188:cm id="{97710CED-0F9A-4B3C-A6F9-568B2C14FC72}" authorId="{2B5593C9-F2B6-30DD-4223-2A5BDAEF44D7}" created="2022-08-13T18:41:57.893">
    <pc:sldMkLst xmlns:pc="http://schemas.microsoft.com/office/powerpoint/2013/main/command">
      <pc:docMk/>
      <pc:sldMk cId="2697959778" sldId="2022"/>
    </pc:sldMkLst>
    <p188:txBody>
      <a:bodyPr/>
      <a:lstStyle/>
      <a:p>
        <a:r>
          <a:rPr lang="en-US"/>
          <a:t>There are no "Sample apps" in Army365</a:t>
        </a:r>
      </a:p>
    </p188:txBody>
  </p188:cm>
</p188:cmLst>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F9DDF7-22E4-4645-B237-CE7E21745B0B}" type="doc">
      <dgm:prSet loTypeId="urn:microsoft.com/office/officeart/2005/8/layout/default" loCatId="list" qsTypeId="urn:microsoft.com/office/officeart/2005/8/quickstyle/simple1" qsCatId="simple" csTypeId="urn:microsoft.com/office/officeart/2005/8/colors/accent5_2" csCatId="accent5" phldr="1"/>
      <dgm:spPr/>
      <dgm:t>
        <a:bodyPr/>
        <a:lstStyle/>
        <a:p>
          <a:endParaRPr lang="en-US"/>
        </a:p>
      </dgm:t>
    </dgm:pt>
    <dgm:pt modelId="{5EF2C8A0-C2C6-4910-A44D-345D8390DB71}">
      <dgm:prSet phldrT="[Text]"/>
      <dgm:spPr/>
      <dgm:t>
        <a:bodyPr/>
        <a:lstStyle/>
        <a:p>
          <a:r>
            <a:rPr lang="en-US" b="0" i="0">
              <a:effectLst/>
              <a:latin typeface="Segoe UI" panose="020B0502040204020203" pitchFamily="34" charset="0"/>
            </a:rPr>
            <a:t>Low-code platform </a:t>
          </a:r>
          <a:endParaRPr lang="en-US"/>
        </a:p>
      </dgm:t>
    </dgm:pt>
    <dgm:pt modelId="{04A8F654-42D2-43F2-8A6F-7D7FAE6BD1C1}" type="parTrans" cxnId="{04A0CFF9-D3B2-4CC0-A66C-D8DE360121DD}">
      <dgm:prSet/>
      <dgm:spPr/>
      <dgm:t>
        <a:bodyPr/>
        <a:lstStyle/>
        <a:p>
          <a:endParaRPr lang="en-US"/>
        </a:p>
      </dgm:t>
    </dgm:pt>
    <dgm:pt modelId="{6F5DD5E2-8533-4788-9F6B-8A41340FB60A}" type="sibTrans" cxnId="{04A0CFF9-D3B2-4CC0-A66C-D8DE360121DD}">
      <dgm:prSet/>
      <dgm:spPr/>
      <dgm:t>
        <a:bodyPr/>
        <a:lstStyle/>
        <a:p>
          <a:endParaRPr lang="en-US"/>
        </a:p>
      </dgm:t>
    </dgm:pt>
    <dgm:pt modelId="{C9BF7843-A394-4055-808D-82FFDC81D6FE}">
      <dgm:prSet phldrT="[Text]"/>
      <dgm:spPr/>
      <dgm:t>
        <a:bodyPr/>
        <a:lstStyle/>
        <a:p>
          <a:r>
            <a:rPr lang="en-US" b="0" i="0">
              <a:effectLst/>
              <a:latin typeface="Segoe UI" panose="020B0502040204020203" pitchFamily="34" charset="0"/>
            </a:rPr>
            <a:t>Relational storage, and rich types</a:t>
          </a:r>
          <a:endParaRPr lang="en-US"/>
        </a:p>
      </dgm:t>
    </dgm:pt>
    <dgm:pt modelId="{1787A0BA-A877-494B-8789-58ECF6E7F892}" type="parTrans" cxnId="{54717D60-DB4C-43E2-910F-6C1620FE3C6C}">
      <dgm:prSet/>
      <dgm:spPr/>
      <dgm:t>
        <a:bodyPr/>
        <a:lstStyle/>
        <a:p>
          <a:endParaRPr lang="en-US"/>
        </a:p>
      </dgm:t>
    </dgm:pt>
    <dgm:pt modelId="{9D266017-1BF0-40AA-BF42-A6A60DE0A697}" type="sibTrans" cxnId="{54717D60-DB4C-43E2-910F-6C1620FE3C6C}">
      <dgm:prSet/>
      <dgm:spPr/>
      <dgm:t>
        <a:bodyPr/>
        <a:lstStyle/>
        <a:p>
          <a:endParaRPr lang="en-US"/>
        </a:p>
      </dgm:t>
    </dgm:pt>
    <dgm:pt modelId="{758B6698-DA5D-4987-88A0-36ADC894F593}">
      <dgm:prSet phldrT="[Text]"/>
      <dgm:spPr/>
      <dgm:t>
        <a:bodyPr/>
        <a:lstStyle/>
        <a:p>
          <a:r>
            <a:rPr lang="en-US" b="0" i="0">
              <a:effectLst/>
              <a:latin typeface="Segoe UI" panose="020B0502040204020203" pitchFamily="34" charset="0"/>
            </a:rPr>
            <a:t>Enterprise-grade governance</a:t>
          </a:r>
          <a:endParaRPr lang="en-US"/>
        </a:p>
      </dgm:t>
    </dgm:pt>
    <dgm:pt modelId="{C78D5473-2CB2-4282-882B-B81A1473F4F1}" type="parTrans" cxnId="{CB5351D5-E27C-4DD1-903D-870BA4BA2EAF}">
      <dgm:prSet/>
      <dgm:spPr/>
      <dgm:t>
        <a:bodyPr/>
        <a:lstStyle/>
        <a:p>
          <a:endParaRPr lang="en-US"/>
        </a:p>
      </dgm:t>
    </dgm:pt>
    <dgm:pt modelId="{9D4AAE36-D9F7-4DB2-8C76-FA3522E1E1DE}" type="sibTrans" cxnId="{CB5351D5-E27C-4DD1-903D-870BA4BA2EAF}">
      <dgm:prSet/>
      <dgm:spPr/>
      <dgm:t>
        <a:bodyPr/>
        <a:lstStyle/>
        <a:p>
          <a:endParaRPr lang="en-US"/>
        </a:p>
      </dgm:t>
    </dgm:pt>
    <dgm:pt modelId="{F9E05E68-9244-4191-B7BA-90392F06EEC8}">
      <dgm:prSet phldrT="[Text]"/>
      <dgm:spPr/>
      <dgm:t>
        <a:bodyPr/>
        <a:lstStyle/>
        <a:p>
          <a:r>
            <a:rPr lang="en-US" b="0" i="0">
              <a:effectLst/>
              <a:latin typeface="Segoe UI" panose="020B0502040204020203" pitchFamily="34" charset="0"/>
            </a:rPr>
            <a:t>One-click solution deployment</a:t>
          </a:r>
          <a:endParaRPr lang="en-US"/>
        </a:p>
      </dgm:t>
    </dgm:pt>
    <dgm:pt modelId="{7AF005CE-581F-4BC9-9440-BC75CE3387ED}" type="parTrans" cxnId="{6AC43D53-A1C2-4B58-9807-5A8FE7538F4C}">
      <dgm:prSet/>
      <dgm:spPr/>
      <dgm:t>
        <a:bodyPr/>
        <a:lstStyle/>
        <a:p>
          <a:endParaRPr lang="en-US"/>
        </a:p>
      </dgm:t>
    </dgm:pt>
    <dgm:pt modelId="{E441B117-C333-4993-BA6F-84A58CE8165F}" type="sibTrans" cxnId="{6AC43D53-A1C2-4B58-9807-5A8FE7538F4C}">
      <dgm:prSet/>
      <dgm:spPr/>
      <dgm:t>
        <a:bodyPr/>
        <a:lstStyle/>
        <a:p>
          <a:endParaRPr lang="en-US"/>
        </a:p>
      </dgm:t>
    </dgm:pt>
    <dgm:pt modelId="{7BF80E1B-1437-485C-B430-E3FFDFCCE8E2}" type="pres">
      <dgm:prSet presAssocID="{6DF9DDF7-22E4-4645-B237-CE7E21745B0B}" presName="diagram" presStyleCnt="0">
        <dgm:presLayoutVars>
          <dgm:dir/>
          <dgm:resizeHandles val="exact"/>
        </dgm:presLayoutVars>
      </dgm:prSet>
      <dgm:spPr/>
    </dgm:pt>
    <dgm:pt modelId="{3118139A-FA00-44DD-9065-77E7A2AE3F22}" type="pres">
      <dgm:prSet presAssocID="{5EF2C8A0-C2C6-4910-A44D-345D8390DB71}" presName="node" presStyleLbl="node1" presStyleIdx="0" presStyleCnt="4">
        <dgm:presLayoutVars>
          <dgm:bulletEnabled val="1"/>
        </dgm:presLayoutVars>
      </dgm:prSet>
      <dgm:spPr/>
    </dgm:pt>
    <dgm:pt modelId="{FE0EE330-7952-41BC-9A58-60198D244B04}" type="pres">
      <dgm:prSet presAssocID="{6F5DD5E2-8533-4788-9F6B-8A41340FB60A}" presName="sibTrans" presStyleCnt="0"/>
      <dgm:spPr/>
    </dgm:pt>
    <dgm:pt modelId="{0860A3C5-E59A-4D97-88B9-9346BECA733E}" type="pres">
      <dgm:prSet presAssocID="{C9BF7843-A394-4055-808D-82FFDC81D6FE}" presName="node" presStyleLbl="node1" presStyleIdx="1" presStyleCnt="4">
        <dgm:presLayoutVars>
          <dgm:bulletEnabled val="1"/>
        </dgm:presLayoutVars>
      </dgm:prSet>
      <dgm:spPr/>
    </dgm:pt>
    <dgm:pt modelId="{7964CF90-00FB-474F-A3DA-5F88BE306820}" type="pres">
      <dgm:prSet presAssocID="{9D266017-1BF0-40AA-BF42-A6A60DE0A697}" presName="sibTrans" presStyleCnt="0"/>
      <dgm:spPr/>
    </dgm:pt>
    <dgm:pt modelId="{7FB8DCF1-E132-4A1D-B8F0-D5211407545E}" type="pres">
      <dgm:prSet presAssocID="{758B6698-DA5D-4987-88A0-36ADC894F593}" presName="node" presStyleLbl="node1" presStyleIdx="2" presStyleCnt="4">
        <dgm:presLayoutVars>
          <dgm:bulletEnabled val="1"/>
        </dgm:presLayoutVars>
      </dgm:prSet>
      <dgm:spPr/>
    </dgm:pt>
    <dgm:pt modelId="{BC119DA5-B8A1-4406-A936-414E870B6378}" type="pres">
      <dgm:prSet presAssocID="{9D4AAE36-D9F7-4DB2-8C76-FA3522E1E1DE}" presName="sibTrans" presStyleCnt="0"/>
      <dgm:spPr/>
    </dgm:pt>
    <dgm:pt modelId="{DBDB6D8D-52E6-448D-9664-F18BA7B02A24}" type="pres">
      <dgm:prSet presAssocID="{F9E05E68-9244-4191-B7BA-90392F06EEC8}" presName="node" presStyleLbl="node1" presStyleIdx="3" presStyleCnt="4">
        <dgm:presLayoutVars>
          <dgm:bulletEnabled val="1"/>
        </dgm:presLayoutVars>
      </dgm:prSet>
      <dgm:spPr/>
    </dgm:pt>
  </dgm:ptLst>
  <dgm:cxnLst>
    <dgm:cxn modelId="{9BE31A0E-EC98-471F-883C-6C8307C1EE6C}" type="presOf" srcId="{C9BF7843-A394-4055-808D-82FFDC81D6FE}" destId="{0860A3C5-E59A-4D97-88B9-9346BECA733E}" srcOrd="0" destOrd="0" presId="urn:microsoft.com/office/officeart/2005/8/layout/default"/>
    <dgm:cxn modelId="{DF350228-A354-4DF5-ADFD-00B2F047341D}" type="presOf" srcId="{F9E05E68-9244-4191-B7BA-90392F06EEC8}" destId="{DBDB6D8D-52E6-448D-9664-F18BA7B02A24}" srcOrd="0" destOrd="0" presId="urn:microsoft.com/office/officeart/2005/8/layout/default"/>
    <dgm:cxn modelId="{54717D60-DB4C-43E2-910F-6C1620FE3C6C}" srcId="{6DF9DDF7-22E4-4645-B237-CE7E21745B0B}" destId="{C9BF7843-A394-4055-808D-82FFDC81D6FE}" srcOrd="1" destOrd="0" parTransId="{1787A0BA-A877-494B-8789-58ECF6E7F892}" sibTransId="{9D266017-1BF0-40AA-BF42-A6A60DE0A697}"/>
    <dgm:cxn modelId="{6AC43D53-A1C2-4B58-9807-5A8FE7538F4C}" srcId="{6DF9DDF7-22E4-4645-B237-CE7E21745B0B}" destId="{F9E05E68-9244-4191-B7BA-90392F06EEC8}" srcOrd="3" destOrd="0" parTransId="{7AF005CE-581F-4BC9-9440-BC75CE3387ED}" sibTransId="{E441B117-C333-4993-BA6F-84A58CE8165F}"/>
    <dgm:cxn modelId="{FD34BB9A-8A7D-4AFB-8E11-21D35B3BD902}" type="presOf" srcId="{6DF9DDF7-22E4-4645-B237-CE7E21745B0B}" destId="{7BF80E1B-1437-485C-B430-E3FFDFCCE8E2}" srcOrd="0" destOrd="0" presId="urn:microsoft.com/office/officeart/2005/8/layout/default"/>
    <dgm:cxn modelId="{CB5351D5-E27C-4DD1-903D-870BA4BA2EAF}" srcId="{6DF9DDF7-22E4-4645-B237-CE7E21745B0B}" destId="{758B6698-DA5D-4987-88A0-36ADC894F593}" srcOrd="2" destOrd="0" parTransId="{C78D5473-2CB2-4282-882B-B81A1473F4F1}" sibTransId="{9D4AAE36-D9F7-4DB2-8C76-FA3522E1E1DE}"/>
    <dgm:cxn modelId="{478835E2-3CDD-40B3-A3EE-3C8FC368CD41}" type="presOf" srcId="{758B6698-DA5D-4987-88A0-36ADC894F593}" destId="{7FB8DCF1-E132-4A1D-B8F0-D5211407545E}" srcOrd="0" destOrd="0" presId="urn:microsoft.com/office/officeart/2005/8/layout/default"/>
    <dgm:cxn modelId="{4C4BA6E8-3C72-4775-B8D2-A0C800F9DC49}" type="presOf" srcId="{5EF2C8A0-C2C6-4910-A44D-345D8390DB71}" destId="{3118139A-FA00-44DD-9065-77E7A2AE3F22}" srcOrd="0" destOrd="0" presId="urn:microsoft.com/office/officeart/2005/8/layout/default"/>
    <dgm:cxn modelId="{04A0CFF9-D3B2-4CC0-A66C-D8DE360121DD}" srcId="{6DF9DDF7-22E4-4645-B237-CE7E21745B0B}" destId="{5EF2C8A0-C2C6-4910-A44D-345D8390DB71}" srcOrd="0" destOrd="0" parTransId="{04A8F654-42D2-43F2-8A6F-7D7FAE6BD1C1}" sibTransId="{6F5DD5E2-8533-4788-9F6B-8A41340FB60A}"/>
    <dgm:cxn modelId="{C55FC4BF-B9C8-4D1C-A1D1-2888348F4308}" type="presParOf" srcId="{7BF80E1B-1437-485C-B430-E3FFDFCCE8E2}" destId="{3118139A-FA00-44DD-9065-77E7A2AE3F22}" srcOrd="0" destOrd="0" presId="urn:microsoft.com/office/officeart/2005/8/layout/default"/>
    <dgm:cxn modelId="{CF59B126-8A8F-45CB-B7BB-997A1120F486}" type="presParOf" srcId="{7BF80E1B-1437-485C-B430-E3FFDFCCE8E2}" destId="{FE0EE330-7952-41BC-9A58-60198D244B04}" srcOrd="1" destOrd="0" presId="urn:microsoft.com/office/officeart/2005/8/layout/default"/>
    <dgm:cxn modelId="{B82A834D-1A19-4620-B40D-A6622918C58D}" type="presParOf" srcId="{7BF80E1B-1437-485C-B430-E3FFDFCCE8E2}" destId="{0860A3C5-E59A-4D97-88B9-9346BECA733E}" srcOrd="2" destOrd="0" presId="urn:microsoft.com/office/officeart/2005/8/layout/default"/>
    <dgm:cxn modelId="{92A486C9-1258-4534-AFBD-9E28BA592D3E}" type="presParOf" srcId="{7BF80E1B-1437-485C-B430-E3FFDFCCE8E2}" destId="{7964CF90-00FB-474F-A3DA-5F88BE306820}" srcOrd="3" destOrd="0" presId="urn:microsoft.com/office/officeart/2005/8/layout/default"/>
    <dgm:cxn modelId="{874FFAF1-C431-4AA0-9106-E18812A8FCEC}" type="presParOf" srcId="{7BF80E1B-1437-485C-B430-E3FFDFCCE8E2}" destId="{7FB8DCF1-E132-4A1D-B8F0-D5211407545E}" srcOrd="4" destOrd="0" presId="urn:microsoft.com/office/officeart/2005/8/layout/default"/>
    <dgm:cxn modelId="{252EB8F8-3AEE-498D-80C0-84CFB322F970}" type="presParOf" srcId="{7BF80E1B-1437-485C-B430-E3FFDFCCE8E2}" destId="{BC119DA5-B8A1-4406-A936-414E870B6378}" srcOrd="5" destOrd="0" presId="urn:microsoft.com/office/officeart/2005/8/layout/default"/>
    <dgm:cxn modelId="{085B2338-4711-4794-A9D2-A41F05EDDEA1}" type="presParOf" srcId="{7BF80E1B-1437-485C-B430-E3FFDFCCE8E2}" destId="{DBDB6D8D-52E6-448D-9664-F18BA7B02A24}"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52D19C4-9332-493D-8D0D-DA032DA49723}" type="doc">
      <dgm:prSet loTypeId="urn:microsoft.com/office/officeart/2005/8/layout/default" loCatId="list" qsTypeId="urn:microsoft.com/office/officeart/2005/8/quickstyle/simple1" qsCatId="simple" csTypeId="urn:microsoft.com/office/officeart/2005/8/colors/accent3_2" csCatId="accent3" phldr="1"/>
      <dgm:spPr/>
      <dgm:t>
        <a:bodyPr/>
        <a:lstStyle/>
        <a:p>
          <a:endParaRPr lang="en-US"/>
        </a:p>
      </dgm:t>
    </dgm:pt>
    <dgm:pt modelId="{7AE5F7D9-2DF2-426A-842C-523FFC3C85A8}">
      <dgm:prSet phldrT="[Text]"/>
      <dgm:spPr/>
      <dgm:t>
        <a:bodyPr/>
        <a:lstStyle/>
        <a:p>
          <a:r>
            <a:rPr lang="en-US"/>
            <a:t>Low-code and no-code within Teams.</a:t>
          </a:r>
        </a:p>
      </dgm:t>
    </dgm:pt>
    <dgm:pt modelId="{74B4882C-04C1-4EE2-AC41-07CA22BFEAD2}" type="parTrans" cxnId="{496E60F2-B9C6-4B3B-8191-A10810AF5DFC}">
      <dgm:prSet/>
      <dgm:spPr/>
      <dgm:t>
        <a:bodyPr/>
        <a:lstStyle/>
        <a:p>
          <a:endParaRPr lang="en-US"/>
        </a:p>
      </dgm:t>
    </dgm:pt>
    <dgm:pt modelId="{B22BEBB3-4AFC-4F3D-A902-8AE443A47513}" type="sibTrans" cxnId="{496E60F2-B9C6-4B3B-8191-A10810AF5DFC}">
      <dgm:prSet/>
      <dgm:spPr/>
      <dgm:t>
        <a:bodyPr/>
        <a:lstStyle/>
        <a:p>
          <a:endParaRPr lang="en-US"/>
        </a:p>
      </dgm:t>
    </dgm:pt>
    <dgm:pt modelId="{97A9E299-C37D-4230-BFA3-9D3E8C64CD8C}">
      <dgm:prSet phldrT="[Text]"/>
      <dgm:spPr/>
      <dgm:t>
        <a:bodyPr/>
        <a:lstStyle/>
        <a:p>
          <a:r>
            <a:rPr lang="en-US"/>
            <a:t>Core data capabilities</a:t>
          </a:r>
        </a:p>
      </dgm:t>
    </dgm:pt>
    <dgm:pt modelId="{9071DF17-434B-4926-AFD2-E9E9D49E9A38}" type="parTrans" cxnId="{C20987A0-7564-48C1-8B46-F54C046EE54B}">
      <dgm:prSet/>
      <dgm:spPr/>
      <dgm:t>
        <a:bodyPr/>
        <a:lstStyle/>
        <a:p>
          <a:endParaRPr lang="en-US"/>
        </a:p>
      </dgm:t>
    </dgm:pt>
    <dgm:pt modelId="{A9E7718B-CC24-4996-9AB8-C10061BA3FB3}" type="sibTrans" cxnId="{C20987A0-7564-48C1-8B46-F54C046EE54B}">
      <dgm:prSet/>
      <dgm:spPr/>
      <dgm:t>
        <a:bodyPr/>
        <a:lstStyle/>
        <a:p>
          <a:endParaRPr lang="en-US"/>
        </a:p>
      </dgm:t>
    </dgm:pt>
    <dgm:pt modelId="{4CB36185-DF59-4079-8C1F-F727183AF777}">
      <dgm:prSet phldrT="[Text]"/>
      <dgm:spPr/>
      <dgm:t>
        <a:bodyPr/>
        <a:lstStyle/>
        <a:p>
          <a:r>
            <a:rPr lang="en-US"/>
            <a:t>Storage and rich data types</a:t>
          </a:r>
        </a:p>
      </dgm:t>
    </dgm:pt>
    <dgm:pt modelId="{DB723753-D3BA-414D-A871-5843121C5693}" type="parTrans" cxnId="{44318195-43FB-4CB1-9C24-B0D1213846ED}">
      <dgm:prSet/>
      <dgm:spPr/>
      <dgm:t>
        <a:bodyPr/>
        <a:lstStyle/>
        <a:p>
          <a:endParaRPr lang="en-US"/>
        </a:p>
      </dgm:t>
    </dgm:pt>
    <dgm:pt modelId="{670A77C3-1AB2-48AA-BD82-4E9B70DA7CD3}" type="sibTrans" cxnId="{44318195-43FB-4CB1-9C24-B0D1213846ED}">
      <dgm:prSet/>
      <dgm:spPr/>
      <dgm:t>
        <a:bodyPr/>
        <a:lstStyle/>
        <a:p>
          <a:endParaRPr lang="en-US"/>
        </a:p>
      </dgm:t>
    </dgm:pt>
    <dgm:pt modelId="{D78EBB3F-70A7-4956-A3D7-7962D58253F9}">
      <dgm:prSet phldrT="[Text]"/>
      <dgm:spPr/>
      <dgm:t>
        <a:bodyPr/>
        <a:lstStyle/>
        <a:p>
          <a:r>
            <a:rPr lang="en-US"/>
            <a:t>New visual editor</a:t>
          </a:r>
        </a:p>
      </dgm:t>
    </dgm:pt>
    <dgm:pt modelId="{5D06D2FC-5777-4426-B88C-F2212DDFF1E8}" type="parTrans" cxnId="{8B97FF35-555C-4851-8CD5-5392D2407758}">
      <dgm:prSet/>
      <dgm:spPr/>
      <dgm:t>
        <a:bodyPr/>
        <a:lstStyle/>
        <a:p>
          <a:endParaRPr lang="en-US"/>
        </a:p>
      </dgm:t>
    </dgm:pt>
    <dgm:pt modelId="{D3DB1A03-418D-460F-B23F-D8B6DAF91D48}" type="sibTrans" cxnId="{8B97FF35-555C-4851-8CD5-5392D2407758}">
      <dgm:prSet/>
      <dgm:spPr/>
      <dgm:t>
        <a:bodyPr/>
        <a:lstStyle/>
        <a:p>
          <a:endParaRPr lang="en-US"/>
        </a:p>
      </dgm:t>
    </dgm:pt>
    <dgm:pt modelId="{21016C89-7950-45A0-97A7-2274837B3729}">
      <dgm:prSet phldrT="[Text]"/>
      <dgm:spPr/>
      <dgm:t>
        <a:bodyPr/>
        <a:lstStyle/>
        <a:p>
          <a:r>
            <a:rPr lang="en-US"/>
            <a:t>Enterprise security</a:t>
          </a:r>
        </a:p>
      </dgm:t>
    </dgm:pt>
    <dgm:pt modelId="{3E3C9E66-D8BA-495A-8276-568FFED58A86}" type="parTrans" cxnId="{27CCD851-8385-43B5-94F9-BEAD5023548D}">
      <dgm:prSet/>
      <dgm:spPr/>
      <dgm:t>
        <a:bodyPr/>
        <a:lstStyle/>
        <a:p>
          <a:endParaRPr lang="en-US"/>
        </a:p>
      </dgm:t>
    </dgm:pt>
    <dgm:pt modelId="{B915A3C4-5E4A-4D0A-A567-A99712BA070F}" type="sibTrans" cxnId="{27CCD851-8385-43B5-94F9-BEAD5023548D}">
      <dgm:prSet/>
      <dgm:spPr/>
      <dgm:t>
        <a:bodyPr/>
        <a:lstStyle/>
        <a:p>
          <a:endParaRPr lang="en-US"/>
        </a:p>
      </dgm:t>
    </dgm:pt>
    <dgm:pt modelId="{C9268ABF-5494-4DCF-B0CC-F251A84A76C6}">
      <dgm:prSet phldrT="[Text]"/>
      <dgm:spPr/>
      <dgm:t>
        <a:bodyPr/>
        <a:lstStyle/>
        <a:p>
          <a:r>
            <a:rPr lang="en-US"/>
            <a:t>Teams licenses.</a:t>
          </a:r>
        </a:p>
      </dgm:t>
    </dgm:pt>
    <dgm:pt modelId="{91B41F21-37BF-4251-88C7-4ABC1EB6AA03}" type="parTrans" cxnId="{40DC4502-A78C-46DA-AF7C-34A0941C6667}">
      <dgm:prSet/>
      <dgm:spPr/>
      <dgm:t>
        <a:bodyPr/>
        <a:lstStyle/>
        <a:p>
          <a:endParaRPr lang="en-US"/>
        </a:p>
      </dgm:t>
    </dgm:pt>
    <dgm:pt modelId="{BCAF5617-02DC-4A4B-9DFD-B0EACC4BE2FA}" type="sibTrans" cxnId="{40DC4502-A78C-46DA-AF7C-34A0941C6667}">
      <dgm:prSet/>
      <dgm:spPr/>
      <dgm:t>
        <a:bodyPr/>
        <a:lstStyle/>
        <a:p>
          <a:endParaRPr lang="en-US"/>
        </a:p>
      </dgm:t>
    </dgm:pt>
    <dgm:pt modelId="{660A9907-AF1A-45CD-8393-3A9DFDDF4799}">
      <dgm:prSet phldrT="[Text]"/>
      <dgm:spPr/>
      <dgm:t>
        <a:bodyPr/>
        <a:lstStyle/>
        <a:p>
          <a:r>
            <a:rPr lang="en-US"/>
            <a:t>Promotion to </a:t>
          </a:r>
          <a:r>
            <a:rPr lang="en-US" err="1"/>
            <a:t>Dataverse</a:t>
          </a:r>
          <a:r>
            <a:rPr lang="en-US"/>
            <a:t> (CDS).</a:t>
          </a:r>
        </a:p>
      </dgm:t>
    </dgm:pt>
    <dgm:pt modelId="{8DC468D5-37AF-4A2C-A59B-C1694FCC91FD}" type="parTrans" cxnId="{FFC15D0E-5222-4D24-A7EF-CEF4EF945765}">
      <dgm:prSet/>
      <dgm:spPr/>
      <dgm:t>
        <a:bodyPr/>
        <a:lstStyle/>
        <a:p>
          <a:endParaRPr lang="en-US"/>
        </a:p>
      </dgm:t>
    </dgm:pt>
    <dgm:pt modelId="{61666A09-07FC-4F6D-8447-422B489CCD48}" type="sibTrans" cxnId="{FFC15D0E-5222-4D24-A7EF-CEF4EF945765}">
      <dgm:prSet/>
      <dgm:spPr/>
      <dgm:t>
        <a:bodyPr/>
        <a:lstStyle/>
        <a:p>
          <a:endParaRPr lang="en-US"/>
        </a:p>
      </dgm:t>
    </dgm:pt>
    <dgm:pt modelId="{68C04F5C-C6E1-43D7-9E2F-4188A7837A7A}">
      <dgm:prSet/>
      <dgm:spPr/>
      <dgm:t>
        <a:bodyPr/>
        <a:lstStyle/>
        <a:p>
          <a:r>
            <a:rPr lang="en-US"/>
            <a:t>2 GB per team, and support for up to 1 million rows</a:t>
          </a:r>
        </a:p>
      </dgm:t>
    </dgm:pt>
    <dgm:pt modelId="{0695631A-47CB-4366-A2A9-4396C31B629B}" type="parTrans" cxnId="{376504E9-99E0-4156-99BC-95F799131177}">
      <dgm:prSet/>
      <dgm:spPr/>
      <dgm:t>
        <a:bodyPr/>
        <a:lstStyle/>
        <a:p>
          <a:endParaRPr lang="en-US"/>
        </a:p>
      </dgm:t>
    </dgm:pt>
    <dgm:pt modelId="{A1C38EB5-979B-4BB6-B8DA-FAAEBE4DA19E}" type="sibTrans" cxnId="{376504E9-99E0-4156-99BC-95F799131177}">
      <dgm:prSet/>
      <dgm:spPr/>
      <dgm:t>
        <a:bodyPr/>
        <a:lstStyle/>
        <a:p>
          <a:endParaRPr lang="en-US"/>
        </a:p>
      </dgm:t>
    </dgm:pt>
    <dgm:pt modelId="{B5539171-E680-4EC8-9B81-970F637662B1}" type="pres">
      <dgm:prSet presAssocID="{652D19C4-9332-493D-8D0D-DA032DA49723}" presName="diagram" presStyleCnt="0">
        <dgm:presLayoutVars>
          <dgm:dir/>
          <dgm:resizeHandles val="exact"/>
        </dgm:presLayoutVars>
      </dgm:prSet>
      <dgm:spPr/>
    </dgm:pt>
    <dgm:pt modelId="{F30F2F15-EA08-475B-A375-6E6F5A47EC44}" type="pres">
      <dgm:prSet presAssocID="{7AE5F7D9-2DF2-426A-842C-523FFC3C85A8}" presName="node" presStyleLbl="node1" presStyleIdx="0" presStyleCnt="8">
        <dgm:presLayoutVars>
          <dgm:bulletEnabled val="1"/>
        </dgm:presLayoutVars>
      </dgm:prSet>
      <dgm:spPr/>
    </dgm:pt>
    <dgm:pt modelId="{CFCE2723-D2C1-4A60-86E6-4D3743C32385}" type="pres">
      <dgm:prSet presAssocID="{B22BEBB3-4AFC-4F3D-A902-8AE443A47513}" presName="sibTrans" presStyleCnt="0"/>
      <dgm:spPr/>
    </dgm:pt>
    <dgm:pt modelId="{8379A563-B112-420C-B914-71382929ABAD}" type="pres">
      <dgm:prSet presAssocID="{97A9E299-C37D-4230-BFA3-9D3E8C64CD8C}" presName="node" presStyleLbl="node1" presStyleIdx="1" presStyleCnt="8">
        <dgm:presLayoutVars>
          <dgm:bulletEnabled val="1"/>
        </dgm:presLayoutVars>
      </dgm:prSet>
      <dgm:spPr/>
    </dgm:pt>
    <dgm:pt modelId="{DCAC0723-A3E2-4908-9CFD-0FBBE05F0CAF}" type="pres">
      <dgm:prSet presAssocID="{A9E7718B-CC24-4996-9AB8-C10061BA3FB3}" presName="sibTrans" presStyleCnt="0"/>
      <dgm:spPr/>
    </dgm:pt>
    <dgm:pt modelId="{488D62E9-86BB-41D4-8D30-ECDCCCB3272C}" type="pres">
      <dgm:prSet presAssocID="{4CB36185-DF59-4079-8C1F-F727183AF777}" presName="node" presStyleLbl="node1" presStyleIdx="2" presStyleCnt="8">
        <dgm:presLayoutVars>
          <dgm:bulletEnabled val="1"/>
        </dgm:presLayoutVars>
      </dgm:prSet>
      <dgm:spPr/>
    </dgm:pt>
    <dgm:pt modelId="{5F7B5974-1EDC-4BC0-82C8-C72769A276D7}" type="pres">
      <dgm:prSet presAssocID="{670A77C3-1AB2-48AA-BD82-4E9B70DA7CD3}" presName="sibTrans" presStyleCnt="0"/>
      <dgm:spPr/>
    </dgm:pt>
    <dgm:pt modelId="{6978515E-0ACD-4EEB-99CB-FE8EFDE4718A}" type="pres">
      <dgm:prSet presAssocID="{D78EBB3F-70A7-4956-A3D7-7962D58253F9}" presName="node" presStyleLbl="node1" presStyleIdx="3" presStyleCnt="8">
        <dgm:presLayoutVars>
          <dgm:bulletEnabled val="1"/>
        </dgm:presLayoutVars>
      </dgm:prSet>
      <dgm:spPr/>
    </dgm:pt>
    <dgm:pt modelId="{1888B8F1-6DDC-417B-8079-15CD9FA74BDB}" type="pres">
      <dgm:prSet presAssocID="{D3DB1A03-418D-460F-B23F-D8B6DAF91D48}" presName="sibTrans" presStyleCnt="0"/>
      <dgm:spPr/>
    </dgm:pt>
    <dgm:pt modelId="{5ADFD843-4156-4D1E-96A0-70E571304E85}" type="pres">
      <dgm:prSet presAssocID="{21016C89-7950-45A0-97A7-2274837B3729}" presName="node" presStyleLbl="node1" presStyleIdx="4" presStyleCnt="8">
        <dgm:presLayoutVars>
          <dgm:bulletEnabled val="1"/>
        </dgm:presLayoutVars>
      </dgm:prSet>
      <dgm:spPr/>
    </dgm:pt>
    <dgm:pt modelId="{DCE59F01-FB82-4F4A-B4E7-D59E44EF57FE}" type="pres">
      <dgm:prSet presAssocID="{B915A3C4-5E4A-4D0A-A567-A99712BA070F}" presName="sibTrans" presStyleCnt="0"/>
      <dgm:spPr/>
    </dgm:pt>
    <dgm:pt modelId="{AF9D0554-4067-480C-8161-EEBF072B4310}" type="pres">
      <dgm:prSet presAssocID="{C9268ABF-5494-4DCF-B0CC-F251A84A76C6}" presName="node" presStyleLbl="node1" presStyleIdx="5" presStyleCnt="8">
        <dgm:presLayoutVars>
          <dgm:bulletEnabled val="1"/>
        </dgm:presLayoutVars>
      </dgm:prSet>
      <dgm:spPr/>
    </dgm:pt>
    <dgm:pt modelId="{25ECB3F6-7123-47C7-9773-3686DEE55CE6}" type="pres">
      <dgm:prSet presAssocID="{BCAF5617-02DC-4A4B-9DFD-B0EACC4BE2FA}" presName="sibTrans" presStyleCnt="0"/>
      <dgm:spPr/>
    </dgm:pt>
    <dgm:pt modelId="{D9AE150E-F36A-4100-99F9-8B661F7F9169}" type="pres">
      <dgm:prSet presAssocID="{68C04F5C-C6E1-43D7-9E2F-4188A7837A7A}" presName="node" presStyleLbl="node1" presStyleIdx="6" presStyleCnt="8">
        <dgm:presLayoutVars>
          <dgm:bulletEnabled val="1"/>
        </dgm:presLayoutVars>
      </dgm:prSet>
      <dgm:spPr/>
    </dgm:pt>
    <dgm:pt modelId="{33778BAB-1602-4F5E-94AF-3D190587F660}" type="pres">
      <dgm:prSet presAssocID="{A1C38EB5-979B-4BB6-B8DA-FAAEBE4DA19E}" presName="sibTrans" presStyleCnt="0"/>
      <dgm:spPr/>
    </dgm:pt>
    <dgm:pt modelId="{7EE24D44-3172-4D58-941C-5546DE6EDD7F}" type="pres">
      <dgm:prSet presAssocID="{660A9907-AF1A-45CD-8393-3A9DFDDF4799}" presName="node" presStyleLbl="node1" presStyleIdx="7" presStyleCnt="8">
        <dgm:presLayoutVars>
          <dgm:bulletEnabled val="1"/>
        </dgm:presLayoutVars>
      </dgm:prSet>
      <dgm:spPr/>
    </dgm:pt>
  </dgm:ptLst>
  <dgm:cxnLst>
    <dgm:cxn modelId="{40DC4502-A78C-46DA-AF7C-34A0941C6667}" srcId="{652D19C4-9332-493D-8D0D-DA032DA49723}" destId="{C9268ABF-5494-4DCF-B0CC-F251A84A76C6}" srcOrd="5" destOrd="0" parTransId="{91B41F21-37BF-4251-88C7-4ABC1EB6AA03}" sibTransId="{BCAF5617-02DC-4A4B-9DFD-B0EACC4BE2FA}"/>
    <dgm:cxn modelId="{2144BB0D-6F7A-4659-A20F-1F2F6AD668A3}" type="presOf" srcId="{4CB36185-DF59-4079-8C1F-F727183AF777}" destId="{488D62E9-86BB-41D4-8D30-ECDCCCB3272C}" srcOrd="0" destOrd="0" presId="urn:microsoft.com/office/officeart/2005/8/layout/default"/>
    <dgm:cxn modelId="{FFC15D0E-5222-4D24-A7EF-CEF4EF945765}" srcId="{652D19C4-9332-493D-8D0D-DA032DA49723}" destId="{660A9907-AF1A-45CD-8393-3A9DFDDF4799}" srcOrd="7" destOrd="0" parTransId="{8DC468D5-37AF-4A2C-A59B-C1694FCC91FD}" sibTransId="{61666A09-07FC-4F6D-8447-422B489CCD48}"/>
    <dgm:cxn modelId="{CF84E31D-8EF4-4FD7-AD1A-5D6C12A46967}" type="presOf" srcId="{652D19C4-9332-493D-8D0D-DA032DA49723}" destId="{B5539171-E680-4EC8-9B81-970F637662B1}" srcOrd="0" destOrd="0" presId="urn:microsoft.com/office/officeart/2005/8/layout/default"/>
    <dgm:cxn modelId="{12AA7230-45DB-4D88-8166-DB4D9143DC20}" type="presOf" srcId="{D78EBB3F-70A7-4956-A3D7-7962D58253F9}" destId="{6978515E-0ACD-4EEB-99CB-FE8EFDE4718A}" srcOrd="0" destOrd="0" presId="urn:microsoft.com/office/officeart/2005/8/layout/default"/>
    <dgm:cxn modelId="{8B97FF35-555C-4851-8CD5-5392D2407758}" srcId="{652D19C4-9332-493D-8D0D-DA032DA49723}" destId="{D78EBB3F-70A7-4956-A3D7-7962D58253F9}" srcOrd="3" destOrd="0" parTransId="{5D06D2FC-5777-4426-B88C-F2212DDFF1E8}" sibTransId="{D3DB1A03-418D-460F-B23F-D8B6DAF91D48}"/>
    <dgm:cxn modelId="{5E374542-34EE-4AD9-A7CE-F01FF87480D5}" type="presOf" srcId="{21016C89-7950-45A0-97A7-2274837B3729}" destId="{5ADFD843-4156-4D1E-96A0-70E571304E85}" srcOrd="0" destOrd="0" presId="urn:microsoft.com/office/officeart/2005/8/layout/default"/>
    <dgm:cxn modelId="{483AA843-AB20-4443-9F2A-20A045893DC6}" type="presOf" srcId="{C9268ABF-5494-4DCF-B0CC-F251A84A76C6}" destId="{AF9D0554-4067-480C-8161-EEBF072B4310}" srcOrd="0" destOrd="0" presId="urn:microsoft.com/office/officeart/2005/8/layout/default"/>
    <dgm:cxn modelId="{A3CBAF4F-70C1-40B3-93EB-FC902F141E00}" type="presOf" srcId="{68C04F5C-C6E1-43D7-9E2F-4188A7837A7A}" destId="{D9AE150E-F36A-4100-99F9-8B661F7F9169}" srcOrd="0" destOrd="0" presId="urn:microsoft.com/office/officeart/2005/8/layout/default"/>
    <dgm:cxn modelId="{27CCD851-8385-43B5-94F9-BEAD5023548D}" srcId="{652D19C4-9332-493D-8D0D-DA032DA49723}" destId="{21016C89-7950-45A0-97A7-2274837B3729}" srcOrd="4" destOrd="0" parTransId="{3E3C9E66-D8BA-495A-8276-568FFED58A86}" sibTransId="{B915A3C4-5E4A-4D0A-A567-A99712BA070F}"/>
    <dgm:cxn modelId="{3252DC53-50D1-4537-8A56-2D54AF611CAA}" type="presOf" srcId="{660A9907-AF1A-45CD-8393-3A9DFDDF4799}" destId="{7EE24D44-3172-4D58-941C-5546DE6EDD7F}" srcOrd="0" destOrd="0" presId="urn:microsoft.com/office/officeart/2005/8/layout/default"/>
    <dgm:cxn modelId="{44318195-43FB-4CB1-9C24-B0D1213846ED}" srcId="{652D19C4-9332-493D-8D0D-DA032DA49723}" destId="{4CB36185-DF59-4079-8C1F-F727183AF777}" srcOrd="2" destOrd="0" parTransId="{DB723753-D3BA-414D-A871-5843121C5693}" sibTransId="{670A77C3-1AB2-48AA-BD82-4E9B70DA7CD3}"/>
    <dgm:cxn modelId="{94C2FC99-5781-470C-A776-5AFB19C3ACD6}" type="presOf" srcId="{7AE5F7D9-2DF2-426A-842C-523FFC3C85A8}" destId="{F30F2F15-EA08-475B-A375-6E6F5A47EC44}" srcOrd="0" destOrd="0" presId="urn:microsoft.com/office/officeart/2005/8/layout/default"/>
    <dgm:cxn modelId="{C20987A0-7564-48C1-8B46-F54C046EE54B}" srcId="{652D19C4-9332-493D-8D0D-DA032DA49723}" destId="{97A9E299-C37D-4230-BFA3-9D3E8C64CD8C}" srcOrd="1" destOrd="0" parTransId="{9071DF17-434B-4926-AFD2-E9E9D49E9A38}" sibTransId="{A9E7718B-CC24-4996-9AB8-C10061BA3FB3}"/>
    <dgm:cxn modelId="{376504E9-99E0-4156-99BC-95F799131177}" srcId="{652D19C4-9332-493D-8D0D-DA032DA49723}" destId="{68C04F5C-C6E1-43D7-9E2F-4188A7837A7A}" srcOrd="6" destOrd="0" parTransId="{0695631A-47CB-4366-A2A9-4396C31B629B}" sibTransId="{A1C38EB5-979B-4BB6-B8DA-FAAEBE4DA19E}"/>
    <dgm:cxn modelId="{496E60F2-B9C6-4B3B-8191-A10810AF5DFC}" srcId="{652D19C4-9332-493D-8D0D-DA032DA49723}" destId="{7AE5F7D9-2DF2-426A-842C-523FFC3C85A8}" srcOrd="0" destOrd="0" parTransId="{74B4882C-04C1-4EE2-AC41-07CA22BFEAD2}" sibTransId="{B22BEBB3-4AFC-4F3D-A902-8AE443A47513}"/>
    <dgm:cxn modelId="{D6D618F5-95B1-4062-A27F-04176807D079}" type="presOf" srcId="{97A9E299-C37D-4230-BFA3-9D3E8C64CD8C}" destId="{8379A563-B112-420C-B914-71382929ABAD}" srcOrd="0" destOrd="0" presId="urn:microsoft.com/office/officeart/2005/8/layout/default"/>
    <dgm:cxn modelId="{BA0FBBF9-C394-4624-849E-36AB995AA958}" type="presParOf" srcId="{B5539171-E680-4EC8-9B81-970F637662B1}" destId="{F30F2F15-EA08-475B-A375-6E6F5A47EC44}" srcOrd="0" destOrd="0" presId="urn:microsoft.com/office/officeart/2005/8/layout/default"/>
    <dgm:cxn modelId="{A8067426-33E9-469E-8C29-6E4AD50ECE91}" type="presParOf" srcId="{B5539171-E680-4EC8-9B81-970F637662B1}" destId="{CFCE2723-D2C1-4A60-86E6-4D3743C32385}" srcOrd="1" destOrd="0" presId="urn:microsoft.com/office/officeart/2005/8/layout/default"/>
    <dgm:cxn modelId="{D4136E6F-04DA-4DD9-9C28-CA7EE0167B97}" type="presParOf" srcId="{B5539171-E680-4EC8-9B81-970F637662B1}" destId="{8379A563-B112-420C-B914-71382929ABAD}" srcOrd="2" destOrd="0" presId="urn:microsoft.com/office/officeart/2005/8/layout/default"/>
    <dgm:cxn modelId="{7EFF473F-B83C-4AE1-A865-7CB32ACE7727}" type="presParOf" srcId="{B5539171-E680-4EC8-9B81-970F637662B1}" destId="{DCAC0723-A3E2-4908-9CFD-0FBBE05F0CAF}" srcOrd="3" destOrd="0" presId="urn:microsoft.com/office/officeart/2005/8/layout/default"/>
    <dgm:cxn modelId="{13E4BF54-7208-4873-81C1-0A97E085B9D7}" type="presParOf" srcId="{B5539171-E680-4EC8-9B81-970F637662B1}" destId="{488D62E9-86BB-41D4-8D30-ECDCCCB3272C}" srcOrd="4" destOrd="0" presId="urn:microsoft.com/office/officeart/2005/8/layout/default"/>
    <dgm:cxn modelId="{F79168A7-7AA0-4563-8660-61475AF53C80}" type="presParOf" srcId="{B5539171-E680-4EC8-9B81-970F637662B1}" destId="{5F7B5974-1EDC-4BC0-82C8-C72769A276D7}" srcOrd="5" destOrd="0" presId="urn:microsoft.com/office/officeart/2005/8/layout/default"/>
    <dgm:cxn modelId="{68E922E0-9900-4BAE-906A-F3E593C95CC0}" type="presParOf" srcId="{B5539171-E680-4EC8-9B81-970F637662B1}" destId="{6978515E-0ACD-4EEB-99CB-FE8EFDE4718A}" srcOrd="6" destOrd="0" presId="urn:microsoft.com/office/officeart/2005/8/layout/default"/>
    <dgm:cxn modelId="{A2C40217-A4A2-4A72-BD39-06B03ED24D51}" type="presParOf" srcId="{B5539171-E680-4EC8-9B81-970F637662B1}" destId="{1888B8F1-6DDC-417B-8079-15CD9FA74BDB}" srcOrd="7" destOrd="0" presId="urn:microsoft.com/office/officeart/2005/8/layout/default"/>
    <dgm:cxn modelId="{44F88CCA-B65F-4080-86B5-A545A29C1B75}" type="presParOf" srcId="{B5539171-E680-4EC8-9B81-970F637662B1}" destId="{5ADFD843-4156-4D1E-96A0-70E571304E85}" srcOrd="8" destOrd="0" presId="urn:microsoft.com/office/officeart/2005/8/layout/default"/>
    <dgm:cxn modelId="{6DD6DB81-4B41-4167-B3F4-28FEDA579C41}" type="presParOf" srcId="{B5539171-E680-4EC8-9B81-970F637662B1}" destId="{DCE59F01-FB82-4F4A-B4E7-D59E44EF57FE}" srcOrd="9" destOrd="0" presId="urn:microsoft.com/office/officeart/2005/8/layout/default"/>
    <dgm:cxn modelId="{EA938386-4D54-488D-BFBF-74A6CE6F47FB}" type="presParOf" srcId="{B5539171-E680-4EC8-9B81-970F637662B1}" destId="{AF9D0554-4067-480C-8161-EEBF072B4310}" srcOrd="10" destOrd="0" presId="urn:microsoft.com/office/officeart/2005/8/layout/default"/>
    <dgm:cxn modelId="{8CA159AE-2D1D-4FBB-B2EC-07269782FEBB}" type="presParOf" srcId="{B5539171-E680-4EC8-9B81-970F637662B1}" destId="{25ECB3F6-7123-47C7-9773-3686DEE55CE6}" srcOrd="11" destOrd="0" presId="urn:microsoft.com/office/officeart/2005/8/layout/default"/>
    <dgm:cxn modelId="{ECE79913-157D-45F3-9263-85E767E8FAB4}" type="presParOf" srcId="{B5539171-E680-4EC8-9B81-970F637662B1}" destId="{D9AE150E-F36A-4100-99F9-8B661F7F9169}" srcOrd="12" destOrd="0" presId="urn:microsoft.com/office/officeart/2005/8/layout/default"/>
    <dgm:cxn modelId="{E80E724E-D26B-4F24-8E1F-6FC05325D1A4}" type="presParOf" srcId="{B5539171-E680-4EC8-9B81-970F637662B1}" destId="{33778BAB-1602-4F5E-94AF-3D190587F660}" srcOrd="13" destOrd="0" presId="urn:microsoft.com/office/officeart/2005/8/layout/default"/>
    <dgm:cxn modelId="{3C64144D-11D8-4F5D-8D84-C7C3DD79605D}" type="presParOf" srcId="{B5539171-E680-4EC8-9B81-970F637662B1}" destId="{7EE24D44-3172-4D58-941C-5546DE6EDD7F}"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B2A8032-6EAD-4A4E-BC02-8325ED4EFCEC}" type="doc">
      <dgm:prSet loTypeId="urn:microsoft.com/office/officeart/2005/8/layout/hProcess9" loCatId="process" qsTypeId="urn:microsoft.com/office/officeart/2005/8/quickstyle/simple1" qsCatId="simple" csTypeId="urn:microsoft.com/office/officeart/2005/8/colors/accent2_2" csCatId="accent2" phldr="1"/>
      <dgm:spPr/>
    </dgm:pt>
    <dgm:pt modelId="{317324BF-DF53-481A-BFAC-E9056A072BFF}">
      <dgm:prSet phldrT="[Text]"/>
      <dgm:spPr/>
      <dgm:t>
        <a:bodyPr/>
        <a:lstStyle/>
        <a:p>
          <a:r>
            <a:rPr lang="en-US"/>
            <a:t>Access</a:t>
          </a:r>
        </a:p>
      </dgm:t>
    </dgm:pt>
    <dgm:pt modelId="{6CFEA7DB-16D7-4D15-95FE-E7CBAF4B5DC9}" type="parTrans" cxnId="{30CB5A44-CD4B-4CAC-BC5A-F58A3CB31DB8}">
      <dgm:prSet/>
      <dgm:spPr/>
      <dgm:t>
        <a:bodyPr/>
        <a:lstStyle/>
        <a:p>
          <a:endParaRPr lang="en-US"/>
        </a:p>
      </dgm:t>
    </dgm:pt>
    <dgm:pt modelId="{BF2AE85F-5B7D-49A6-A22E-1541E1639282}" type="sibTrans" cxnId="{30CB5A44-CD4B-4CAC-BC5A-F58A3CB31DB8}">
      <dgm:prSet/>
      <dgm:spPr/>
      <dgm:t>
        <a:bodyPr/>
        <a:lstStyle/>
        <a:p>
          <a:endParaRPr lang="en-US"/>
        </a:p>
      </dgm:t>
    </dgm:pt>
    <dgm:pt modelId="{3B7032F8-9EF0-426B-B958-A73B1E24901C}">
      <dgm:prSet phldrT="[Text]"/>
      <dgm:spPr/>
      <dgm:t>
        <a:bodyPr/>
        <a:lstStyle/>
        <a:p>
          <a:r>
            <a:rPr lang="en-US"/>
            <a:t>Coding</a:t>
          </a:r>
        </a:p>
      </dgm:t>
    </dgm:pt>
    <dgm:pt modelId="{7492531A-82A8-43FD-BFCA-285486F0BA9B}" type="parTrans" cxnId="{29069E3A-47B6-45FF-B4D4-A087FF7B8D01}">
      <dgm:prSet/>
      <dgm:spPr/>
      <dgm:t>
        <a:bodyPr/>
        <a:lstStyle/>
        <a:p>
          <a:endParaRPr lang="en-US"/>
        </a:p>
      </dgm:t>
    </dgm:pt>
    <dgm:pt modelId="{DCD68B0E-1080-4D0C-A31A-4C41894157EC}" type="sibTrans" cxnId="{29069E3A-47B6-45FF-B4D4-A087FF7B8D01}">
      <dgm:prSet/>
      <dgm:spPr/>
      <dgm:t>
        <a:bodyPr/>
        <a:lstStyle/>
        <a:p>
          <a:endParaRPr lang="en-US"/>
        </a:p>
      </dgm:t>
    </dgm:pt>
    <dgm:pt modelId="{9F8E23BD-41D1-41B2-822C-20D4835CF64F}">
      <dgm:prSet phldrT="[Text]"/>
      <dgm:spPr/>
      <dgm:t>
        <a:bodyPr/>
        <a:lstStyle/>
        <a:p>
          <a:r>
            <a:rPr lang="en-US"/>
            <a:t>Data limitations</a:t>
          </a:r>
        </a:p>
      </dgm:t>
    </dgm:pt>
    <dgm:pt modelId="{5D5C3FBA-C42D-4947-BF5E-2A345BF9035F}" type="parTrans" cxnId="{3B04F2A2-0D6E-4F2D-8C0C-61C8899528E3}">
      <dgm:prSet/>
      <dgm:spPr/>
      <dgm:t>
        <a:bodyPr/>
        <a:lstStyle/>
        <a:p>
          <a:endParaRPr lang="en-US"/>
        </a:p>
      </dgm:t>
    </dgm:pt>
    <dgm:pt modelId="{BFF2726A-3A0F-42B0-922D-29C933612024}" type="sibTrans" cxnId="{3B04F2A2-0D6E-4F2D-8C0C-61C8899528E3}">
      <dgm:prSet/>
      <dgm:spPr/>
      <dgm:t>
        <a:bodyPr/>
        <a:lstStyle/>
        <a:p>
          <a:endParaRPr lang="en-US"/>
        </a:p>
      </dgm:t>
    </dgm:pt>
    <dgm:pt modelId="{3CC804B5-7843-4731-9C52-6C47A4CE68B9}">
      <dgm:prSet phldrT="[Text]"/>
      <dgm:spPr/>
      <dgm:t>
        <a:bodyPr/>
        <a:lstStyle/>
        <a:p>
          <a:r>
            <a:rPr lang="en-US"/>
            <a:t>Environment limitations</a:t>
          </a:r>
        </a:p>
      </dgm:t>
    </dgm:pt>
    <dgm:pt modelId="{1385C044-47F5-456B-8FFA-7203FBA33B2B}" type="parTrans" cxnId="{6F63DBCD-E7D1-407D-BC48-9EDA70B13844}">
      <dgm:prSet/>
      <dgm:spPr/>
      <dgm:t>
        <a:bodyPr/>
        <a:lstStyle/>
        <a:p>
          <a:endParaRPr lang="en-US"/>
        </a:p>
      </dgm:t>
    </dgm:pt>
    <dgm:pt modelId="{50814FDB-FFF4-4AF2-8511-8D4158666D5C}" type="sibTrans" cxnId="{6F63DBCD-E7D1-407D-BC48-9EDA70B13844}">
      <dgm:prSet/>
      <dgm:spPr/>
      <dgm:t>
        <a:bodyPr/>
        <a:lstStyle/>
        <a:p>
          <a:endParaRPr lang="en-US"/>
        </a:p>
      </dgm:t>
    </dgm:pt>
    <dgm:pt modelId="{5ECFFAA3-CC2C-4293-B973-E17AE26FDD9D}" type="pres">
      <dgm:prSet presAssocID="{7B2A8032-6EAD-4A4E-BC02-8325ED4EFCEC}" presName="CompostProcess" presStyleCnt="0">
        <dgm:presLayoutVars>
          <dgm:dir/>
          <dgm:resizeHandles val="exact"/>
        </dgm:presLayoutVars>
      </dgm:prSet>
      <dgm:spPr/>
    </dgm:pt>
    <dgm:pt modelId="{DF86DD61-D55A-44F6-AD69-5B778359480C}" type="pres">
      <dgm:prSet presAssocID="{7B2A8032-6EAD-4A4E-BC02-8325ED4EFCEC}" presName="arrow" presStyleLbl="bgShp" presStyleIdx="0" presStyleCnt="1"/>
      <dgm:spPr/>
    </dgm:pt>
    <dgm:pt modelId="{4FEA5BE8-FA08-45D0-B33B-BCBAD64FFE17}" type="pres">
      <dgm:prSet presAssocID="{7B2A8032-6EAD-4A4E-BC02-8325ED4EFCEC}" presName="linearProcess" presStyleCnt="0"/>
      <dgm:spPr/>
    </dgm:pt>
    <dgm:pt modelId="{00A5357D-BC85-42CA-8D17-0796671D41B8}" type="pres">
      <dgm:prSet presAssocID="{317324BF-DF53-481A-BFAC-E9056A072BFF}" presName="textNode" presStyleLbl="node1" presStyleIdx="0" presStyleCnt="4">
        <dgm:presLayoutVars>
          <dgm:bulletEnabled val="1"/>
        </dgm:presLayoutVars>
      </dgm:prSet>
      <dgm:spPr/>
    </dgm:pt>
    <dgm:pt modelId="{3D9DB4AC-C3FF-41F2-8550-8214CD573F85}" type="pres">
      <dgm:prSet presAssocID="{BF2AE85F-5B7D-49A6-A22E-1541E1639282}" presName="sibTrans" presStyleCnt="0"/>
      <dgm:spPr/>
    </dgm:pt>
    <dgm:pt modelId="{88A775D9-D616-4973-A867-82EC9625AFD7}" type="pres">
      <dgm:prSet presAssocID="{3B7032F8-9EF0-426B-B958-A73B1E24901C}" presName="textNode" presStyleLbl="node1" presStyleIdx="1" presStyleCnt="4">
        <dgm:presLayoutVars>
          <dgm:bulletEnabled val="1"/>
        </dgm:presLayoutVars>
      </dgm:prSet>
      <dgm:spPr/>
    </dgm:pt>
    <dgm:pt modelId="{1FC60149-6B36-42BF-A5B6-E3830CF3785D}" type="pres">
      <dgm:prSet presAssocID="{DCD68B0E-1080-4D0C-A31A-4C41894157EC}" presName="sibTrans" presStyleCnt="0"/>
      <dgm:spPr/>
    </dgm:pt>
    <dgm:pt modelId="{EC0B7E4B-C138-40E8-9CDA-F3AF4B615605}" type="pres">
      <dgm:prSet presAssocID="{9F8E23BD-41D1-41B2-822C-20D4835CF64F}" presName="textNode" presStyleLbl="node1" presStyleIdx="2" presStyleCnt="4">
        <dgm:presLayoutVars>
          <dgm:bulletEnabled val="1"/>
        </dgm:presLayoutVars>
      </dgm:prSet>
      <dgm:spPr/>
    </dgm:pt>
    <dgm:pt modelId="{7034DBE6-F090-4617-8BC5-51C2A846146F}" type="pres">
      <dgm:prSet presAssocID="{BFF2726A-3A0F-42B0-922D-29C933612024}" presName="sibTrans" presStyleCnt="0"/>
      <dgm:spPr/>
    </dgm:pt>
    <dgm:pt modelId="{103881B5-9AA9-42C2-8369-496B37A3A05B}" type="pres">
      <dgm:prSet presAssocID="{3CC804B5-7843-4731-9C52-6C47A4CE68B9}" presName="textNode" presStyleLbl="node1" presStyleIdx="3" presStyleCnt="4">
        <dgm:presLayoutVars>
          <dgm:bulletEnabled val="1"/>
        </dgm:presLayoutVars>
      </dgm:prSet>
      <dgm:spPr/>
    </dgm:pt>
  </dgm:ptLst>
  <dgm:cxnLst>
    <dgm:cxn modelId="{29069E3A-47B6-45FF-B4D4-A087FF7B8D01}" srcId="{7B2A8032-6EAD-4A4E-BC02-8325ED4EFCEC}" destId="{3B7032F8-9EF0-426B-B958-A73B1E24901C}" srcOrd="1" destOrd="0" parTransId="{7492531A-82A8-43FD-BFCA-285486F0BA9B}" sibTransId="{DCD68B0E-1080-4D0C-A31A-4C41894157EC}"/>
    <dgm:cxn modelId="{D3FAC040-F98C-4061-A5ED-B08E7DEBBA2F}" type="presOf" srcId="{317324BF-DF53-481A-BFAC-E9056A072BFF}" destId="{00A5357D-BC85-42CA-8D17-0796671D41B8}" srcOrd="0" destOrd="0" presId="urn:microsoft.com/office/officeart/2005/8/layout/hProcess9"/>
    <dgm:cxn modelId="{30CB5A44-CD4B-4CAC-BC5A-F58A3CB31DB8}" srcId="{7B2A8032-6EAD-4A4E-BC02-8325ED4EFCEC}" destId="{317324BF-DF53-481A-BFAC-E9056A072BFF}" srcOrd="0" destOrd="0" parTransId="{6CFEA7DB-16D7-4D15-95FE-E7CBAF4B5DC9}" sibTransId="{BF2AE85F-5B7D-49A6-A22E-1541E1639282}"/>
    <dgm:cxn modelId="{94398DA2-064F-447E-8FBC-66FA0864F557}" type="presOf" srcId="{9F8E23BD-41D1-41B2-822C-20D4835CF64F}" destId="{EC0B7E4B-C138-40E8-9CDA-F3AF4B615605}" srcOrd="0" destOrd="0" presId="urn:microsoft.com/office/officeart/2005/8/layout/hProcess9"/>
    <dgm:cxn modelId="{EA3DCAA2-D938-4FD6-A5D6-1082320E740B}" type="presOf" srcId="{3CC804B5-7843-4731-9C52-6C47A4CE68B9}" destId="{103881B5-9AA9-42C2-8369-496B37A3A05B}" srcOrd="0" destOrd="0" presId="urn:microsoft.com/office/officeart/2005/8/layout/hProcess9"/>
    <dgm:cxn modelId="{3B04F2A2-0D6E-4F2D-8C0C-61C8899528E3}" srcId="{7B2A8032-6EAD-4A4E-BC02-8325ED4EFCEC}" destId="{9F8E23BD-41D1-41B2-822C-20D4835CF64F}" srcOrd="2" destOrd="0" parTransId="{5D5C3FBA-C42D-4947-BF5E-2A345BF9035F}" sibTransId="{BFF2726A-3A0F-42B0-922D-29C933612024}"/>
    <dgm:cxn modelId="{F6C400CA-3C34-45D4-8C19-F7C95AB4DDAD}" type="presOf" srcId="{3B7032F8-9EF0-426B-B958-A73B1E24901C}" destId="{88A775D9-D616-4973-A867-82EC9625AFD7}" srcOrd="0" destOrd="0" presId="urn:microsoft.com/office/officeart/2005/8/layout/hProcess9"/>
    <dgm:cxn modelId="{6F63DBCD-E7D1-407D-BC48-9EDA70B13844}" srcId="{7B2A8032-6EAD-4A4E-BC02-8325ED4EFCEC}" destId="{3CC804B5-7843-4731-9C52-6C47A4CE68B9}" srcOrd="3" destOrd="0" parTransId="{1385C044-47F5-456B-8FFA-7203FBA33B2B}" sibTransId="{50814FDB-FFF4-4AF2-8511-8D4158666D5C}"/>
    <dgm:cxn modelId="{D9948EFD-7CB6-45F9-8018-80AD3BD8F8E1}" type="presOf" srcId="{7B2A8032-6EAD-4A4E-BC02-8325ED4EFCEC}" destId="{5ECFFAA3-CC2C-4293-B973-E17AE26FDD9D}" srcOrd="0" destOrd="0" presId="urn:microsoft.com/office/officeart/2005/8/layout/hProcess9"/>
    <dgm:cxn modelId="{869390BC-E512-4356-A1F4-AE014535146D}" type="presParOf" srcId="{5ECFFAA3-CC2C-4293-B973-E17AE26FDD9D}" destId="{DF86DD61-D55A-44F6-AD69-5B778359480C}" srcOrd="0" destOrd="0" presId="urn:microsoft.com/office/officeart/2005/8/layout/hProcess9"/>
    <dgm:cxn modelId="{7A6A9A59-977C-47CC-86AD-EF11A8221898}" type="presParOf" srcId="{5ECFFAA3-CC2C-4293-B973-E17AE26FDD9D}" destId="{4FEA5BE8-FA08-45D0-B33B-BCBAD64FFE17}" srcOrd="1" destOrd="0" presId="urn:microsoft.com/office/officeart/2005/8/layout/hProcess9"/>
    <dgm:cxn modelId="{D26191B8-0ED4-42C7-8D44-8D751CCF6129}" type="presParOf" srcId="{4FEA5BE8-FA08-45D0-B33B-BCBAD64FFE17}" destId="{00A5357D-BC85-42CA-8D17-0796671D41B8}" srcOrd="0" destOrd="0" presId="urn:microsoft.com/office/officeart/2005/8/layout/hProcess9"/>
    <dgm:cxn modelId="{0D081E4B-6653-47D6-B112-BD0B56D89898}" type="presParOf" srcId="{4FEA5BE8-FA08-45D0-B33B-BCBAD64FFE17}" destId="{3D9DB4AC-C3FF-41F2-8550-8214CD573F85}" srcOrd="1" destOrd="0" presId="urn:microsoft.com/office/officeart/2005/8/layout/hProcess9"/>
    <dgm:cxn modelId="{EAC397C4-6B63-40B3-B2B9-F0F56F56683C}" type="presParOf" srcId="{4FEA5BE8-FA08-45D0-B33B-BCBAD64FFE17}" destId="{88A775D9-D616-4973-A867-82EC9625AFD7}" srcOrd="2" destOrd="0" presId="urn:microsoft.com/office/officeart/2005/8/layout/hProcess9"/>
    <dgm:cxn modelId="{4D9BC062-2F6F-4CED-BA2D-31770E7BCACC}" type="presParOf" srcId="{4FEA5BE8-FA08-45D0-B33B-BCBAD64FFE17}" destId="{1FC60149-6B36-42BF-A5B6-E3830CF3785D}" srcOrd="3" destOrd="0" presId="urn:microsoft.com/office/officeart/2005/8/layout/hProcess9"/>
    <dgm:cxn modelId="{DB6413E5-069F-4912-B09D-A2FB396511D5}" type="presParOf" srcId="{4FEA5BE8-FA08-45D0-B33B-BCBAD64FFE17}" destId="{EC0B7E4B-C138-40E8-9CDA-F3AF4B615605}" srcOrd="4" destOrd="0" presId="urn:microsoft.com/office/officeart/2005/8/layout/hProcess9"/>
    <dgm:cxn modelId="{3871719D-116F-465D-86D1-78D1796237F8}" type="presParOf" srcId="{4FEA5BE8-FA08-45D0-B33B-BCBAD64FFE17}" destId="{7034DBE6-F090-4617-8BC5-51C2A846146F}" srcOrd="5" destOrd="0" presId="urn:microsoft.com/office/officeart/2005/8/layout/hProcess9"/>
    <dgm:cxn modelId="{89CFE5ED-9F1B-448E-B07B-5F2D69E56C15}" type="presParOf" srcId="{4FEA5BE8-FA08-45D0-B33B-BCBAD64FFE17}" destId="{103881B5-9AA9-42C2-8369-496B37A3A05B}"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C1681EE-B250-48DF-A763-B4D17CCE7B7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448AAA6-46B1-4D62-8AA7-A4ADF166ECFE}">
      <dgm:prSet phldrT="[Text]" phldr="0"/>
      <dgm:spPr/>
      <dgm:t>
        <a:bodyPr/>
        <a:lstStyle/>
        <a:p>
          <a:pPr algn="ctr"/>
          <a:r>
            <a:rPr lang="en-US"/>
            <a:t>Containers for storing content within a SharePoint site</a:t>
          </a:r>
        </a:p>
      </dgm:t>
    </dgm:pt>
    <dgm:pt modelId="{5DCAE407-3CD6-4AAD-AFAB-DB7290212F9F}" type="parTrans" cxnId="{BC08C968-4FE7-4CA4-8CA2-C61BDCB26CED}">
      <dgm:prSet/>
      <dgm:spPr/>
      <dgm:t>
        <a:bodyPr/>
        <a:lstStyle/>
        <a:p>
          <a:endParaRPr lang="en-US"/>
        </a:p>
      </dgm:t>
    </dgm:pt>
    <dgm:pt modelId="{30C35C1A-6789-4B66-B7FD-9F6547B2FA42}" type="sibTrans" cxnId="{BC08C968-4FE7-4CA4-8CA2-C61BDCB26CED}">
      <dgm:prSet/>
      <dgm:spPr/>
      <dgm:t>
        <a:bodyPr/>
        <a:lstStyle/>
        <a:p>
          <a:endParaRPr lang="en-US"/>
        </a:p>
      </dgm:t>
    </dgm:pt>
    <dgm:pt modelId="{06BBAB7E-FD0C-4DA7-9319-64441E9492FF}">
      <dgm:prSet phldrT="[Text]" phldr="0"/>
      <dgm:spPr/>
      <dgm:t>
        <a:bodyPr/>
        <a:lstStyle/>
        <a:p>
          <a:pPr algn="ctr"/>
          <a:r>
            <a:rPr lang="en-US"/>
            <a:t>Lists organize content in the form of items (with or without attachments)</a:t>
          </a:r>
        </a:p>
      </dgm:t>
    </dgm:pt>
    <dgm:pt modelId="{7D7148DA-5AC8-4A0A-B171-7E67C1B082B6}" type="parTrans" cxnId="{6E1EB89F-6041-4ED0-B3F1-99F162AD9538}">
      <dgm:prSet/>
      <dgm:spPr/>
      <dgm:t>
        <a:bodyPr/>
        <a:lstStyle/>
        <a:p>
          <a:endParaRPr lang="en-US"/>
        </a:p>
      </dgm:t>
    </dgm:pt>
    <dgm:pt modelId="{1398216C-A6A0-4E81-9551-CC6CDFE0C9C4}" type="sibTrans" cxnId="{6E1EB89F-6041-4ED0-B3F1-99F162AD9538}">
      <dgm:prSet/>
      <dgm:spPr/>
      <dgm:t>
        <a:bodyPr/>
        <a:lstStyle/>
        <a:p>
          <a:endParaRPr lang="en-US"/>
        </a:p>
      </dgm:t>
    </dgm:pt>
    <dgm:pt modelId="{367EB158-0A86-4ABF-AB00-7D9CE28530D0}">
      <dgm:prSet phldrT="[Text]" phldr="0"/>
      <dgm:spPr/>
      <dgm:t>
        <a:bodyPr/>
        <a:lstStyle/>
        <a:p>
          <a:pPr algn="ctr"/>
          <a:r>
            <a:rPr lang="en-US"/>
            <a:t>Libraries organize content in the form of documents or files</a:t>
          </a:r>
        </a:p>
      </dgm:t>
    </dgm:pt>
    <dgm:pt modelId="{6EAD0E04-A683-4319-B301-DB7494B2682A}" type="parTrans" cxnId="{A4324317-6D10-4BD5-9362-33EDFE6F802D}">
      <dgm:prSet/>
      <dgm:spPr/>
      <dgm:t>
        <a:bodyPr/>
        <a:lstStyle/>
        <a:p>
          <a:endParaRPr lang="en-US"/>
        </a:p>
      </dgm:t>
    </dgm:pt>
    <dgm:pt modelId="{0A5279D4-F6AC-4977-B5DD-B0586AA34ED0}" type="sibTrans" cxnId="{A4324317-6D10-4BD5-9362-33EDFE6F802D}">
      <dgm:prSet/>
      <dgm:spPr/>
      <dgm:t>
        <a:bodyPr/>
        <a:lstStyle/>
        <a:p>
          <a:endParaRPr lang="en-US"/>
        </a:p>
      </dgm:t>
    </dgm:pt>
    <dgm:pt modelId="{9B3E0C55-DB75-4B88-B49B-1A0943115C81}" type="pres">
      <dgm:prSet presAssocID="{5C1681EE-B250-48DF-A763-B4D17CCE7B79}" presName="linear" presStyleCnt="0">
        <dgm:presLayoutVars>
          <dgm:animLvl val="lvl"/>
          <dgm:resizeHandles val="exact"/>
        </dgm:presLayoutVars>
      </dgm:prSet>
      <dgm:spPr/>
    </dgm:pt>
    <dgm:pt modelId="{5A6D10B0-CBFF-4CB5-9827-F142E66CFB7D}" type="pres">
      <dgm:prSet presAssocID="{6448AAA6-46B1-4D62-8AA7-A4ADF166ECFE}" presName="parentText" presStyleLbl="node1" presStyleIdx="0" presStyleCnt="3">
        <dgm:presLayoutVars>
          <dgm:chMax val="0"/>
          <dgm:bulletEnabled val="1"/>
        </dgm:presLayoutVars>
      </dgm:prSet>
      <dgm:spPr/>
    </dgm:pt>
    <dgm:pt modelId="{D048F578-5A96-4D61-9F15-528698EDF2E8}" type="pres">
      <dgm:prSet presAssocID="{30C35C1A-6789-4B66-B7FD-9F6547B2FA42}" presName="spacer" presStyleCnt="0"/>
      <dgm:spPr/>
    </dgm:pt>
    <dgm:pt modelId="{0E6CBB66-02A0-4082-85BB-29014EB4807E}" type="pres">
      <dgm:prSet presAssocID="{06BBAB7E-FD0C-4DA7-9319-64441E9492FF}" presName="parentText" presStyleLbl="node1" presStyleIdx="1" presStyleCnt="3">
        <dgm:presLayoutVars>
          <dgm:chMax val="0"/>
          <dgm:bulletEnabled val="1"/>
        </dgm:presLayoutVars>
      </dgm:prSet>
      <dgm:spPr/>
    </dgm:pt>
    <dgm:pt modelId="{3C351D0C-5397-4B0E-81AE-AA6FC2DD2A52}" type="pres">
      <dgm:prSet presAssocID="{1398216C-A6A0-4E81-9551-CC6CDFE0C9C4}" presName="spacer" presStyleCnt="0"/>
      <dgm:spPr/>
    </dgm:pt>
    <dgm:pt modelId="{32A00A47-DD48-4B3B-BCC4-3E121FAAB8C7}" type="pres">
      <dgm:prSet presAssocID="{367EB158-0A86-4ABF-AB00-7D9CE28530D0}" presName="parentText" presStyleLbl="node1" presStyleIdx="2" presStyleCnt="3">
        <dgm:presLayoutVars>
          <dgm:chMax val="0"/>
          <dgm:bulletEnabled val="1"/>
        </dgm:presLayoutVars>
      </dgm:prSet>
      <dgm:spPr/>
    </dgm:pt>
  </dgm:ptLst>
  <dgm:cxnLst>
    <dgm:cxn modelId="{955BFC0C-F8C9-4471-8F97-76291C2D3F72}" type="presOf" srcId="{06BBAB7E-FD0C-4DA7-9319-64441E9492FF}" destId="{0E6CBB66-02A0-4082-85BB-29014EB4807E}" srcOrd="0" destOrd="0" presId="urn:microsoft.com/office/officeart/2005/8/layout/vList2"/>
    <dgm:cxn modelId="{A4324317-6D10-4BD5-9362-33EDFE6F802D}" srcId="{5C1681EE-B250-48DF-A763-B4D17CCE7B79}" destId="{367EB158-0A86-4ABF-AB00-7D9CE28530D0}" srcOrd="2" destOrd="0" parTransId="{6EAD0E04-A683-4319-B301-DB7494B2682A}" sibTransId="{0A5279D4-F6AC-4977-B5DD-B0586AA34ED0}"/>
    <dgm:cxn modelId="{BC08C968-4FE7-4CA4-8CA2-C61BDCB26CED}" srcId="{5C1681EE-B250-48DF-A763-B4D17CCE7B79}" destId="{6448AAA6-46B1-4D62-8AA7-A4ADF166ECFE}" srcOrd="0" destOrd="0" parTransId="{5DCAE407-3CD6-4AAD-AFAB-DB7290212F9F}" sibTransId="{30C35C1A-6789-4B66-B7FD-9F6547B2FA42}"/>
    <dgm:cxn modelId="{20D1C550-A77C-47C1-9E74-A90D3E01B0FE}" type="presOf" srcId="{6448AAA6-46B1-4D62-8AA7-A4ADF166ECFE}" destId="{5A6D10B0-CBFF-4CB5-9827-F142E66CFB7D}" srcOrd="0" destOrd="0" presId="urn:microsoft.com/office/officeart/2005/8/layout/vList2"/>
    <dgm:cxn modelId="{6E1EB89F-6041-4ED0-B3F1-99F162AD9538}" srcId="{5C1681EE-B250-48DF-A763-B4D17CCE7B79}" destId="{06BBAB7E-FD0C-4DA7-9319-64441E9492FF}" srcOrd="1" destOrd="0" parTransId="{7D7148DA-5AC8-4A0A-B171-7E67C1B082B6}" sibTransId="{1398216C-A6A0-4E81-9551-CC6CDFE0C9C4}"/>
    <dgm:cxn modelId="{EE5A24C6-A811-4FAE-810F-7C6D18E3BE51}" type="presOf" srcId="{367EB158-0A86-4ABF-AB00-7D9CE28530D0}" destId="{32A00A47-DD48-4B3B-BCC4-3E121FAAB8C7}" srcOrd="0" destOrd="0" presId="urn:microsoft.com/office/officeart/2005/8/layout/vList2"/>
    <dgm:cxn modelId="{B07C25E4-3235-44AA-B74F-4AC637030E2C}" type="presOf" srcId="{5C1681EE-B250-48DF-A763-B4D17CCE7B79}" destId="{9B3E0C55-DB75-4B88-B49B-1A0943115C81}" srcOrd="0" destOrd="0" presId="urn:microsoft.com/office/officeart/2005/8/layout/vList2"/>
    <dgm:cxn modelId="{89E2F57A-883C-4238-8C8F-C94535DB7F4F}" type="presParOf" srcId="{9B3E0C55-DB75-4B88-B49B-1A0943115C81}" destId="{5A6D10B0-CBFF-4CB5-9827-F142E66CFB7D}" srcOrd="0" destOrd="0" presId="urn:microsoft.com/office/officeart/2005/8/layout/vList2"/>
    <dgm:cxn modelId="{44B77138-690C-4F51-8F57-2E9662AAE035}" type="presParOf" srcId="{9B3E0C55-DB75-4B88-B49B-1A0943115C81}" destId="{D048F578-5A96-4D61-9F15-528698EDF2E8}" srcOrd="1" destOrd="0" presId="urn:microsoft.com/office/officeart/2005/8/layout/vList2"/>
    <dgm:cxn modelId="{F52EBBF6-189E-4EEA-9EB2-FC9F80237AAB}" type="presParOf" srcId="{9B3E0C55-DB75-4B88-B49B-1A0943115C81}" destId="{0E6CBB66-02A0-4082-85BB-29014EB4807E}" srcOrd="2" destOrd="0" presId="urn:microsoft.com/office/officeart/2005/8/layout/vList2"/>
    <dgm:cxn modelId="{1563B62B-57A3-432D-9C41-45AEEB570FF7}" type="presParOf" srcId="{9B3E0C55-DB75-4B88-B49B-1A0943115C81}" destId="{3C351D0C-5397-4B0E-81AE-AA6FC2DD2A52}" srcOrd="3" destOrd="0" presId="urn:microsoft.com/office/officeart/2005/8/layout/vList2"/>
    <dgm:cxn modelId="{188946B2-ECA4-4EE1-869E-084C187C7E04}" type="presParOf" srcId="{9B3E0C55-DB75-4B88-B49B-1A0943115C81}" destId="{32A00A47-DD48-4B3B-BCC4-3E121FAAB8C7}"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18139A-FA00-44DD-9065-77E7A2AE3F22}">
      <dsp:nvSpPr>
        <dsp:cNvPr id="0" name=""/>
        <dsp:cNvSpPr/>
      </dsp:nvSpPr>
      <dsp:spPr>
        <a:xfrm>
          <a:off x="700861" y="3202"/>
          <a:ext cx="1905568" cy="11433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0" i="0" kern="1200">
              <a:effectLst/>
              <a:latin typeface="Segoe UI" panose="020B0502040204020203" pitchFamily="34" charset="0"/>
            </a:rPr>
            <a:t>Low-code platform </a:t>
          </a:r>
          <a:endParaRPr lang="en-US" sz="2100" kern="1200"/>
        </a:p>
      </dsp:txBody>
      <dsp:txXfrm>
        <a:off x="700861" y="3202"/>
        <a:ext cx="1905568" cy="1143340"/>
      </dsp:txXfrm>
    </dsp:sp>
    <dsp:sp modelId="{0860A3C5-E59A-4D97-88B9-9346BECA733E}">
      <dsp:nvSpPr>
        <dsp:cNvPr id="0" name=""/>
        <dsp:cNvSpPr/>
      </dsp:nvSpPr>
      <dsp:spPr>
        <a:xfrm>
          <a:off x="700861" y="1337099"/>
          <a:ext cx="1905568" cy="11433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0" i="0" kern="1200">
              <a:effectLst/>
              <a:latin typeface="Segoe UI" panose="020B0502040204020203" pitchFamily="34" charset="0"/>
            </a:rPr>
            <a:t>Relational storage, and rich types</a:t>
          </a:r>
          <a:endParaRPr lang="en-US" sz="2100" kern="1200"/>
        </a:p>
      </dsp:txBody>
      <dsp:txXfrm>
        <a:off x="700861" y="1337099"/>
        <a:ext cx="1905568" cy="1143340"/>
      </dsp:txXfrm>
    </dsp:sp>
    <dsp:sp modelId="{7FB8DCF1-E132-4A1D-B8F0-D5211407545E}">
      <dsp:nvSpPr>
        <dsp:cNvPr id="0" name=""/>
        <dsp:cNvSpPr/>
      </dsp:nvSpPr>
      <dsp:spPr>
        <a:xfrm>
          <a:off x="700861" y="2670997"/>
          <a:ext cx="1905568" cy="11433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0" i="0" kern="1200">
              <a:effectLst/>
              <a:latin typeface="Segoe UI" panose="020B0502040204020203" pitchFamily="34" charset="0"/>
            </a:rPr>
            <a:t>Enterprise-grade governance</a:t>
          </a:r>
          <a:endParaRPr lang="en-US" sz="2100" kern="1200"/>
        </a:p>
      </dsp:txBody>
      <dsp:txXfrm>
        <a:off x="700861" y="2670997"/>
        <a:ext cx="1905568" cy="1143340"/>
      </dsp:txXfrm>
    </dsp:sp>
    <dsp:sp modelId="{DBDB6D8D-52E6-448D-9664-F18BA7B02A24}">
      <dsp:nvSpPr>
        <dsp:cNvPr id="0" name=""/>
        <dsp:cNvSpPr/>
      </dsp:nvSpPr>
      <dsp:spPr>
        <a:xfrm>
          <a:off x="700861" y="4004895"/>
          <a:ext cx="1905568" cy="11433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0" i="0" kern="1200">
              <a:effectLst/>
              <a:latin typeface="Segoe UI" panose="020B0502040204020203" pitchFamily="34" charset="0"/>
            </a:rPr>
            <a:t>One-click solution deployment</a:t>
          </a:r>
          <a:endParaRPr lang="en-US" sz="2100" kern="1200"/>
        </a:p>
      </dsp:txBody>
      <dsp:txXfrm>
        <a:off x="700861" y="4004895"/>
        <a:ext cx="1905568" cy="11433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0F2F15-EA08-475B-A375-6E6F5A47EC44}">
      <dsp:nvSpPr>
        <dsp:cNvPr id="0" name=""/>
        <dsp:cNvSpPr/>
      </dsp:nvSpPr>
      <dsp:spPr>
        <a:xfrm>
          <a:off x="3375" y="874713"/>
          <a:ext cx="2677982" cy="160678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Low-code and no-code within Teams.</a:t>
          </a:r>
        </a:p>
      </dsp:txBody>
      <dsp:txXfrm>
        <a:off x="3375" y="874713"/>
        <a:ext cx="2677982" cy="1606789"/>
      </dsp:txXfrm>
    </dsp:sp>
    <dsp:sp modelId="{8379A563-B112-420C-B914-71382929ABAD}">
      <dsp:nvSpPr>
        <dsp:cNvPr id="0" name=""/>
        <dsp:cNvSpPr/>
      </dsp:nvSpPr>
      <dsp:spPr>
        <a:xfrm>
          <a:off x="2949156" y="874713"/>
          <a:ext cx="2677982" cy="160678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Core data capabilities</a:t>
          </a:r>
        </a:p>
      </dsp:txBody>
      <dsp:txXfrm>
        <a:off x="2949156" y="874713"/>
        <a:ext cx="2677982" cy="1606789"/>
      </dsp:txXfrm>
    </dsp:sp>
    <dsp:sp modelId="{488D62E9-86BB-41D4-8D30-ECDCCCB3272C}">
      <dsp:nvSpPr>
        <dsp:cNvPr id="0" name=""/>
        <dsp:cNvSpPr/>
      </dsp:nvSpPr>
      <dsp:spPr>
        <a:xfrm>
          <a:off x="5894936" y="874713"/>
          <a:ext cx="2677982" cy="160678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Storage and rich data types</a:t>
          </a:r>
        </a:p>
      </dsp:txBody>
      <dsp:txXfrm>
        <a:off x="5894936" y="874713"/>
        <a:ext cx="2677982" cy="1606789"/>
      </dsp:txXfrm>
    </dsp:sp>
    <dsp:sp modelId="{6978515E-0ACD-4EEB-99CB-FE8EFDE4718A}">
      <dsp:nvSpPr>
        <dsp:cNvPr id="0" name=""/>
        <dsp:cNvSpPr/>
      </dsp:nvSpPr>
      <dsp:spPr>
        <a:xfrm>
          <a:off x="8840717" y="874713"/>
          <a:ext cx="2677982" cy="160678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New visual editor</a:t>
          </a:r>
        </a:p>
      </dsp:txBody>
      <dsp:txXfrm>
        <a:off x="8840717" y="874713"/>
        <a:ext cx="2677982" cy="1606789"/>
      </dsp:txXfrm>
    </dsp:sp>
    <dsp:sp modelId="{5ADFD843-4156-4D1E-96A0-70E571304E85}">
      <dsp:nvSpPr>
        <dsp:cNvPr id="0" name=""/>
        <dsp:cNvSpPr/>
      </dsp:nvSpPr>
      <dsp:spPr>
        <a:xfrm>
          <a:off x="3375" y="2749301"/>
          <a:ext cx="2677982" cy="160678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Enterprise security</a:t>
          </a:r>
        </a:p>
      </dsp:txBody>
      <dsp:txXfrm>
        <a:off x="3375" y="2749301"/>
        <a:ext cx="2677982" cy="1606789"/>
      </dsp:txXfrm>
    </dsp:sp>
    <dsp:sp modelId="{AF9D0554-4067-480C-8161-EEBF072B4310}">
      <dsp:nvSpPr>
        <dsp:cNvPr id="0" name=""/>
        <dsp:cNvSpPr/>
      </dsp:nvSpPr>
      <dsp:spPr>
        <a:xfrm>
          <a:off x="2949156" y="2749301"/>
          <a:ext cx="2677982" cy="160678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Teams licenses.</a:t>
          </a:r>
        </a:p>
      </dsp:txBody>
      <dsp:txXfrm>
        <a:off x="2949156" y="2749301"/>
        <a:ext cx="2677982" cy="1606789"/>
      </dsp:txXfrm>
    </dsp:sp>
    <dsp:sp modelId="{D9AE150E-F36A-4100-99F9-8B661F7F9169}">
      <dsp:nvSpPr>
        <dsp:cNvPr id="0" name=""/>
        <dsp:cNvSpPr/>
      </dsp:nvSpPr>
      <dsp:spPr>
        <a:xfrm>
          <a:off x="5894936" y="2749301"/>
          <a:ext cx="2677982" cy="160678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2 GB per team, and support for up to 1 million rows</a:t>
          </a:r>
        </a:p>
      </dsp:txBody>
      <dsp:txXfrm>
        <a:off x="5894936" y="2749301"/>
        <a:ext cx="2677982" cy="1606789"/>
      </dsp:txXfrm>
    </dsp:sp>
    <dsp:sp modelId="{7EE24D44-3172-4D58-941C-5546DE6EDD7F}">
      <dsp:nvSpPr>
        <dsp:cNvPr id="0" name=""/>
        <dsp:cNvSpPr/>
      </dsp:nvSpPr>
      <dsp:spPr>
        <a:xfrm>
          <a:off x="8840717" y="2749301"/>
          <a:ext cx="2677982" cy="160678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Promotion to </a:t>
          </a:r>
          <a:r>
            <a:rPr lang="en-US" sz="2300" kern="1200" err="1"/>
            <a:t>Dataverse</a:t>
          </a:r>
          <a:r>
            <a:rPr lang="en-US" sz="2300" kern="1200"/>
            <a:t> (CDS).</a:t>
          </a:r>
        </a:p>
      </dsp:txBody>
      <dsp:txXfrm>
        <a:off x="8840717" y="2749301"/>
        <a:ext cx="2677982" cy="160678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86DD61-D55A-44F6-AD69-5B778359480C}">
      <dsp:nvSpPr>
        <dsp:cNvPr id="0" name=""/>
        <dsp:cNvSpPr/>
      </dsp:nvSpPr>
      <dsp:spPr>
        <a:xfrm>
          <a:off x="864155" y="0"/>
          <a:ext cx="9793763" cy="5303838"/>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0A5357D-BC85-42CA-8D17-0796671D41B8}">
      <dsp:nvSpPr>
        <dsp:cNvPr id="0" name=""/>
        <dsp:cNvSpPr/>
      </dsp:nvSpPr>
      <dsp:spPr>
        <a:xfrm>
          <a:off x="1274" y="1591151"/>
          <a:ext cx="2752241" cy="2121535"/>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a:t>Access</a:t>
          </a:r>
        </a:p>
      </dsp:txBody>
      <dsp:txXfrm>
        <a:off x="104839" y="1694716"/>
        <a:ext cx="2545111" cy="1914405"/>
      </dsp:txXfrm>
    </dsp:sp>
    <dsp:sp modelId="{88A775D9-D616-4973-A867-82EC9625AFD7}">
      <dsp:nvSpPr>
        <dsp:cNvPr id="0" name=""/>
        <dsp:cNvSpPr/>
      </dsp:nvSpPr>
      <dsp:spPr>
        <a:xfrm>
          <a:off x="2923702" y="1591151"/>
          <a:ext cx="2752241" cy="2121535"/>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a:t>Coding</a:t>
          </a:r>
        </a:p>
      </dsp:txBody>
      <dsp:txXfrm>
        <a:off x="3027267" y="1694716"/>
        <a:ext cx="2545111" cy="1914405"/>
      </dsp:txXfrm>
    </dsp:sp>
    <dsp:sp modelId="{EC0B7E4B-C138-40E8-9CDA-F3AF4B615605}">
      <dsp:nvSpPr>
        <dsp:cNvPr id="0" name=""/>
        <dsp:cNvSpPr/>
      </dsp:nvSpPr>
      <dsp:spPr>
        <a:xfrm>
          <a:off x="5846130" y="1591151"/>
          <a:ext cx="2752241" cy="2121535"/>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a:t>Data limitations</a:t>
          </a:r>
        </a:p>
      </dsp:txBody>
      <dsp:txXfrm>
        <a:off x="5949695" y="1694716"/>
        <a:ext cx="2545111" cy="1914405"/>
      </dsp:txXfrm>
    </dsp:sp>
    <dsp:sp modelId="{103881B5-9AA9-42C2-8369-496B37A3A05B}">
      <dsp:nvSpPr>
        <dsp:cNvPr id="0" name=""/>
        <dsp:cNvSpPr/>
      </dsp:nvSpPr>
      <dsp:spPr>
        <a:xfrm>
          <a:off x="8768559" y="1591151"/>
          <a:ext cx="2752241" cy="2121535"/>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a:t>Environment limitations</a:t>
          </a:r>
        </a:p>
      </dsp:txBody>
      <dsp:txXfrm>
        <a:off x="8872124" y="1694716"/>
        <a:ext cx="2545111" cy="191440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6D10B0-CBFF-4CB5-9827-F142E66CFB7D}">
      <dsp:nvSpPr>
        <dsp:cNvPr id="0" name=""/>
        <dsp:cNvSpPr/>
      </dsp:nvSpPr>
      <dsp:spPr>
        <a:xfrm>
          <a:off x="0" y="40121"/>
          <a:ext cx="11292408" cy="17316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en-US" sz="4000" kern="1200"/>
            <a:t>Containers for storing content within a SharePoint site</a:t>
          </a:r>
        </a:p>
      </dsp:txBody>
      <dsp:txXfrm>
        <a:off x="84530" y="124651"/>
        <a:ext cx="11123348" cy="1562540"/>
      </dsp:txXfrm>
    </dsp:sp>
    <dsp:sp modelId="{0E6CBB66-02A0-4082-85BB-29014EB4807E}">
      <dsp:nvSpPr>
        <dsp:cNvPr id="0" name=""/>
        <dsp:cNvSpPr/>
      </dsp:nvSpPr>
      <dsp:spPr>
        <a:xfrm>
          <a:off x="0" y="1886921"/>
          <a:ext cx="11292408" cy="17316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en-US" sz="4000" kern="1200"/>
            <a:t>Lists organize content in the form of items (with or without attachments)</a:t>
          </a:r>
        </a:p>
      </dsp:txBody>
      <dsp:txXfrm>
        <a:off x="84530" y="1971451"/>
        <a:ext cx="11123348" cy="1562540"/>
      </dsp:txXfrm>
    </dsp:sp>
    <dsp:sp modelId="{32A00A47-DD48-4B3B-BCC4-3E121FAAB8C7}">
      <dsp:nvSpPr>
        <dsp:cNvPr id="0" name=""/>
        <dsp:cNvSpPr/>
      </dsp:nvSpPr>
      <dsp:spPr>
        <a:xfrm>
          <a:off x="0" y="3733721"/>
          <a:ext cx="11292408" cy="17316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en-US" sz="4000" kern="1200"/>
            <a:t>Libraries organize content in the form of documents or files</a:t>
          </a:r>
        </a:p>
      </dsp:txBody>
      <dsp:txXfrm>
        <a:off x="84530" y="3818251"/>
        <a:ext cx="11123348" cy="156254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10/2023 9:43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10/2023 9:43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powerapps/teams/embed-teams-tab"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docs.microsoft.com/en-us/powerapps/teams/embed-teams-app"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admin.powerplatform.microsoft.com/"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docs.microsoft.com/en-us/power-platform/admin/admin-documentation#:~:text=The%20Power%20Platform%20admin%20center%20is%20a%20unified,365%20Marketing,%20and%20Dynamics%20365%20Project%20Service%20Automation)."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power-platform/admin/regions-overview" TargetMode="External"/><Relationship Id="rId7" Type="http://schemas.openxmlformats.org/officeDocument/2006/relationships/hyperlink" Target="https://docs.microsoft.com/en-us/microsoft-365/enterprise/administering-a-multi-geo-environment?view=o365-worldwide#microsoft-powerapps"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docs.microsoft.com/en-us/microsoft-365/enterprise/plan-for-multi-geo?view=o365-worldwide" TargetMode="External"/><Relationship Id="rId5" Type="http://schemas.openxmlformats.org/officeDocument/2006/relationships/hyperlink" Target="https://docs.microsoft.com/en-us/microsoft-365/enterprise/move-onedrive-between-geo-locations?view=o365-worldwide" TargetMode="External"/><Relationship Id="rId4" Type="http://schemas.openxmlformats.org/officeDocument/2006/relationships/hyperlink" Target="https://contoso.sharepoint.com/"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powerapps/maker/canvas-apps/limits-and-config#required-service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powerapps/maker/canvas-apps/limits-and-config#required-services"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support.microsoft.com/en-us/office/introduction-to-lists-0a1c3ace-def0-44af-b225-cfa8d92c52d7"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powerapps/maker/data-platform/data-platform-intro"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powerapps/teams/use-sample-apps-from-teams-store"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docs.microsoft.com/en-us/powerapps/teams/issue-reporting" TargetMode="External"/><Relationship Id="rId5" Type="http://schemas.openxmlformats.org/officeDocument/2006/relationships/hyperlink" Target="https://docs.microsoft.com/en-us/powerapps/teams/inspection" TargetMode="External"/><Relationship Id="rId4" Type="http://schemas.openxmlformats.org/officeDocument/2006/relationships/hyperlink" Target="https://docs.microsoft.com/en-us/powerapps/teams/employee-ideas"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powerapps/teams/create-first-app"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D0596E5-6523-4DD8-A9ED-0418BD42519C}" type="datetime8">
              <a:rPr lang="en-US" smtClean="0"/>
              <a:t>1/10/2023 9:4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25255321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Embed a canvas app as tab app - Power Apps | Microsoft Docs</a:t>
            </a:r>
          </a:p>
          <a:p>
            <a:r>
              <a:rPr lang="en-US">
                <a:hlinkClick r:id="rId4"/>
              </a:rPr>
              <a:t>Embed an app in Teams - Power Apps | Microsoft Docs</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9: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41675907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cs typeface="Calibri"/>
              </a:rPr>
              <a:t>Slide hidden because feature not available in DoD</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9: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10976087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lide hidden because feature not available in DoD</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9: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4158047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latin typeface="Segoe UI Light"/>
                <a:cs typeface="Segoe UI Light"/>
              </a:rPr>
              <a:t>Slide hidden because feature not available in DoD</a:t>
            </a:r>
          </a:p>
          <a:p>
            <a:pPr>
              <a:defRPr/>
            </a:pPr>
            <a:endParaRPr lang="en-US">
              <a:latin typeface="Segoe UI Light"/>
              <a:cs typeface="Segoe UI Light"/>
            </a:endParaRPr>
          </a:p>
          <a:p>
            <a:pPr marL="0" marR="0" lvl="0" indent="0" algn="l" defTabSz="932742">
              <a:lnSpc>
                <a:spcPct val="90000"/>
              </a:lnSpc>
              <a:spcBef>
                <a:spcPts val="0"/>
              </a:spcBef>
              <a:spcAft>
                <a:spcPts val="340"/>
              </a:spcAft>
              <a:buClrTx/>
              <a:buSzTx/>
              <a:buFontTx/>
              <a:buNone/>
              <a:tabLst/>
              <a:defRPr/>
            </a:pPr>
            <a:r>
              <a:rPr lang="en-US">
                <a:latin typeface="Calibri"/>
                <a:cs typeface="Calibri"/>
              </a:rPr>
              <a:t>Have some light conversation about who they would build PVA bot</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9: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4789490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ention:</a:t>
            </a:r>
          </a:p>
          <a:p>
            <a:r>
              <a:rPr lang="en-US"/>
              <a:t>Environment, a placeholder to divide the PowerApps</a:t>
            </a:r>
          </a:p>
          <a:p>
            <a:endParaRPr lang="en-US">
              <a:cs typeface="Segoe UI Light"/>
            </a:endParaRPr>
          </a:p>
          <a:p>
            <a:r>
              <a:rPr lang="en-US">
                <a:latin typeface="Segoe UI Light"/>
                <a:cs typeface="Segoe UI Light"/>
                <a:hlinkClick r:id="rId3"/>
              </a:rPr>
              <a:t>https://admin.powerplatform.microsoft.com/</a:t>
            </a:r>
          </a:p>
          <a:p>
            <a:endParaRPr lang="en-US">
              <a:cs typeface="Segoe UI Light" pitchFamily="34" charset="0"/>
            </a:endParaRPr>
          </a:p>
          <a:p>
            <a:r>
              <a:rPr lang="en-US">
                <a:hlinkClick r:id="rId4"/>
              </a:rPr>
              <a:t>Administer Power Platform - Power Platform | Microsoft Docs</a:t>
            </a:r>
            <a:endParaRPr lang="en-US"/>
          </a:p>
          <a:p>
            <a:endParaRPr lang="en-US">
              <a:cs typeface="Segoe UI Light" pitchFamily="34" charset="0"/>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0/2023 9: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20763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1"/>
              <a:t>Discuss:</a:t>
            </a:r>
          </a:p>
          <a:p>
            <a:endParaRPr lang="en-US"/>
          </a:p>
          <a:p>
            <a:r>
              <a:rPr lang="en-US"/>
              <a:t>In each environment all resources (PowerApps and Flows) can be viewed and managed. </a:t>
            </a:r>
          </a:p>
          <a:p>
            <a:endParaRPr lang="en-US"/>
          </a:p>
          <a:p>
            <a:pPr marL="171450" indent="-171450">
              <a:buFontTx/>
              <a:buChar char="-"/>
            </a:pPr>
            <a:r>
              <a:rPr lang="en-US"/>
              <a:t>View Properties like Connections and Flows being used</a:t>
            </a:r>
          </a:p>
          <a:p>
            <a:pPr marL="171450" indent="-171450">
              <a:buFontTx/>
              <a:buChar char="-"/>
            </a:pPr>
            <a:r>
              <a:rPr lang="en-US"/>
              <a:t>Who it is share with</a:t>
            </a:r>
          </a:p>
          <a:p>
            <a:pPr marL="171450" indent="-171450">
              <a:buFontTx/>
              <a:buChar char="-"/>
            </a:pPr>
            <a:r>
              <a:rPr lang="en-US"/>
              <a:t>Owner</a:t>
            </a:r>
          </a:p>
          <a:p>
            <a:pPr marL="171450" indent="-171450">
              <a:buFontTx/>
              <a:buChar char="-"/>
            </a:pPr>
            <a:r>
              <a:rPr lang="en-US"/>
              <a:t>Create/Modify date</a:t>
            </a:r>
          </a:p>
          <a:p>
            <a:endParaRPr lang="en-US"/>
          </a:p>
          <a:p>
            <a:endParaRPr lang="en-US"/>
          </a:p>
          <a:p>
            <a:r>
              <a:rPr lang="en-US" b="1"/>
              <a:t>Mention:</a:t>
            </a:r>
          </a:p>
          <a:p>
            <a:endParaRPr lang="en-US"/>
          </a:p>
          <a:p>
            <a:r>
              <a:rPr lang="en-US"/>
              <a:t>For more information you can attend WorkshopPlus – PowerApps for Administrators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0/2023 9: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844214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iscuss:</a:t>
            </a:r>
          </a:p>
          <a:p>
            <a:endParaRPr lang="en-US"/>
          </a:p>
          <a:p>
            <a:pPr marL="171450" indent="-171450">
              <a:buFontTx/>
              <a:buChar char="-"/>
            </a:pPr>
            <a:r>
              <a:rPr lang="en-US"/>
              <a:t>All users can access this page at https://web.powerapps.com</a:t>
            </a:r>
          </a:p>
          <a:p>
            <a:pPr marL="171450" indent="-171450">
              <a:buFontTx/>
              <a:buChar char="-"/>
            </a:pPr>
            <a:r>
              <a:rPr lang="en-US"/>
              <a:t>View apps in web or mobile client</a:t>
            </a:r>
          </a:p>
          <a:p>
            <a:pPr marL="171450" indent="-171450">
              <a:buFontTx/>
              <a:buChar char="-"/>
            </a:pPr>
            <a:r>
              <a:rPr lang="en-US"/>
              <a:t>Filter by: Recent apps / Shared with me /App I can edit / Org apps</a:t>
            </a:r>
          </a:p>
          <a:p>
            <a:pPr marL="171450" indent="-171450">
              <a:buFontTx/>
              <a:buChar char="-"/>
            </a:pPr>
            <a:endParaRPr lang="en-US"/>
          </a:p>
          <a:p>
            <a:pPr marL="0" indent="0">
              <a:buFontTx/>
              <a:buNone/>
            </a:pPr>
            <a:r>
              <a:rPr lang="en-US" b="1"/>
              <a:t>Mention:</a:t>
            </a:r>
          </a:p>
          <a:p>
            <a:pPr marL="0" indent="0">
              <a:buFontTx/>
              <a:buNone/>
            </a:pPr>
            <a:endParaRPr lang="en-US" b="1"/>
          </a:p>
          <a:p>
            <a:pPr marL="171450" indent="-171450">
              <a:buFontTx/>
              <a:buChar char="-"/>
            </a:pPr>
            <a:r>
              <a:rPr lang="en-US"/>
              <a:t>Each App has settings like Edit, Play, Share, Export package, Analytics, Settings, Delete, and Details</a:t>
            </a:r>
          </a:p>
          <a:p>
            <a:pPr marL="171450" indent="-171450">
              <a:buFontTx/>
              <a:buChar char="-"/>
            </a:pPr>
            <a:r>
              <a:rPr lang="en-US"/>
              <a:t>You can Share apps from here</a:t>
            </a:r>
          </a:p>
          <a:p>
            <a:pPr marL="171450" indent="-171450">
              <a:buFontTx/>
              <a:buChar char="-"/>
            </a:pPr>
            <a:r>
              <a:rPr lang="en-US"/>
              <a:t>Set Properties like App Name, Description, etc.</a:t>
            </a:r>
          </a:p>
          <a:p>
            <a:pPr marL="171450" indent="-171450">
              <a:buFontTx/>
              <a:buChar char="-"/>
            </a:pPr>
            <a:r>
              <a:rPr lang="en-US"/>
              <a:t>View details about App like Owner and last modified date</a:t>
            </a:r>
          </a:p>
          <a:p>
            <a:pPr marL="0" indent="0">
              <a:buFontTx/>
              <a:buNone/>
            </a:pPr>
            <a:endParaRPr lang="en-US" b="1"/>
          </a:p>
          <a:p>
            <a:pPr marL="171450" indent="-171450">
              <a:buFontTx/>
              <a:buChar char="-"/>
            </a:pPr>
            <a:endParaRPr lang="en-US"/>
          </a:p>
          <a:p>
            <a:pPr marL="171450" indent="-171450">
              <a:buFontTx/>
              <a:buChar char="-"/>
            </a:pP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0/2023 9: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213268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Segoe UI Light"/>
                <a:cs typeface="Segoe UI Light"/>
              </a:rPr>
              <a:t>PowerApps environment region</a:t>
            </a:r>
          </a:p>
          <a:p>
            <a:r>
              <a:rPr lang="en-US">
                <a:hlinkClick r:id="rId3"/>
              </a:rPr>
              <a:t>Choose the region when setting up an environment - Power Platform | Microsoft Docs</a:t>
            </a:r>
            <a:endParaRPr lang="en-US"/>
          </a:p>
          <a:p>
            <a:endParaRPr lang="en-US"/>
          </a:p>
          <a:p>
            <a:r>
              <a:rPr lang="en-US">
                <a:latin typeface="Segoe UI Light"/>
                <a:cs typeface="Segoe UI Light"/>
              </a:rPr>
              <a:t>Multi geo in PowerApps</a:t>
            </a:r>
            <a:endParaRPr lang="en-US"/>
          </a:p>
          <a:p>
            <a:endParaRPr lang="en-US">
              <a:latin typeface="Segoe UI Light"/>
              <a:cs typeface="Segoe UI Light"/>
            </a:endParaRPr>
          </a:p>
          <a:p>
            <a:pPr marL="171450" indent="-171450">
              <a:spcBef>
                <a:spcPct val="20000"/>
              </a:spcBef>
              <a:spcAft>
                <a:spcPts val="0"/>
              </a:spcAft>
              <a:buFont typeface="Arial"/>
              <a:buChar char="•"/>
            </a:pPr>
            <a:r>
              <a:rPr lang="en-US">
                <a:latin typeface="Segoe UI Light"/>
                <a:cs typeface="Segoe UI Light"/>
              </a:rPr>
              <a:t>In a multi-geo configuration, your Microsoft 365 tenant consists of a central location and one or more satellite locations. This is a single tenant that spans across multiple geo locations. </a:t>
            </a:r>
          </a:p>
          <a:p>
            <a:pPr marL="171450" indent="-171450">
              <a:spcBef>
                <a:spcPct val="20000"/>
              </a:spcBef>
              <a:spcAft>
                <a:spcPts val="0"/>
              </a:spcAft>
              <a:buFont typeface="Arial"/>
              <a:buChar char="•"/>
            </a:pPr>
            <a:r>
              <a:rPr lang="en-US">
                <a:latin typeface="Segoe UI Light"/>
                <a:cs typeface="Segoe UI Light"/>
              </a:rPr>
              <a:t>PowerApps created for the satellite location will use the end point located in the central location for the tenant. </a:t>
            </a:r>
            <a:r>
              <a:rPr lang="en-US" b="1">
                <a:latin typeface="Segoe UI Light"/>
                <a:cs typeface="Segoe UI Light"/>
              </a:rPr>
              <a:t>Microsoft PowerApps is not a Multi-Geo service.</a:t>
            </a:r>
          </a:p>
          <a:p>
            <a:pPr marL="171450" indent="-171450">
              <a:spcBef>
                <a:spcPct val="20000"/>
              </a:spcBef>
              <a:spcAft>
                <a:spcPts val="0"/>
              </a:spcAft>
              <a:buFont typeface="Arial"/>
              <a:buChar char="•"/>
            </a:pPr>
            <a:r>
              <a:rPr lang="en-US">
                <a:latin typeface="Segoe UI Light"/>
                <a:cs typeface="Segoe UI Light"/>
              </a:rPr>
              <a:t>PowerApps support creating an environment in a specific region</a:t>
            </a:r>
          </a:p>
          <a:p>
            <a:endParaRPr lang="en-US">
              <a:latin typeface="Segoe UI Light"/>
              <a:cs typeface="Segoe UI Light"/>
            </a:endParaRPr>
          </a:p>
          <a:p>
            <a:r>
              <a:rPr lang="en-US">
                <a:latin typeface="Segoe UI Light"/>
                <a:cs typeface="Segoe UI Light"/>
              </a:rPr>
              <a:t>Here are some key multi-geo terms to help you understand the basic concepts of the configuration:</a:t>
            </a:r>
            <a:endParaRPr lang="en-US"/>
          </a:p>
          <a:p>
            <a:pPr marL="171450" indent="-171450">
              <a:buFont typeface="Arial"/>
              <a:buChar char="•"/>
            </a:pPr>
            <a:r>
              <a:rPr lang="en-US" b="1">
                <a:latin typeface="Segoe UI Light"/>
                <a:cs typeface="Segoe UI Light"/>
              </a:rPr>
              <a:t>Tenant</a:t>
            </a:r>
            <a:r>
              <a:rPr lang="en-US">
                <a:latin typeface="Segoe UI Light"/>
                <a:cs typeface="Segoe UI Light"/>
              </a:rPr>
              <a:t> – An organization's representation in Microsoft 365 which typically has one or more domains associated with it (for example, </a:t>
            </a:r>
            <a:r>
              <a:rPr lang="en-US">
                <a:latin typeface="Segoe UI Light"/>
                <a:cs typeface="Segoe UI Light"/>
                <a:hlinkClick r:id="rId4"/>
              </a:rPr>
              <a:t>https://contoso.sharepoint.com</a:t>
            </a:r>
            <a:r>
              <a:rPr lang="en-US">
                <a:latin typeface="Segoe UI Light"/>
                <a:cs typeface="Segoe UI Light"/>
              </a:rPr>
              <a:t>). </a:t>
            </a:r>
          </a:p>
          <a:p>
            <a:pPr marL="171450" indent="-171450">
              <a:buFont typeface="Arial"/>
              <a:buChar char="•"/>
            </a:pPr>
            <a:r>
              <a:rPr lang="en-US" b="1">
                <a:latin typeface="Segoe UI Light"/>
                <a:cs typeface="Segoe UI Light"/>
              </a:rPr>
              <a:t>Geo locations</a:t>
            </a:r>
            <a:r>
              <a:rPr lang="en-US">
                <a:latin typeface="Segoe UI Light"/>
                <a:cs typeface="Segoe UI Light"/>
              </a:rPr>
              <a:t> – The geographic locations available to host data in a Microsoft 365 tenant.</a:t>
            </a:r>
          </a:p>
          <a:p>
            <a:pPr marL="171450" indent="-171450">
              <a:buFont typeface="Arial"/>
              <a:buChar char="•"/>
            </a:pPr>
            <a:r>
              <a:rPr lang="en-US" b="1">
                <a:latin typeface="Segoe UI Light"/>
                <a:cs typeface="Segoe UI Light"/>
              </a:rPr>
              <a:t>Satellite locations</a:t>
            </a:r>
            <a:r>
              <a:rPr lang="en-US">
                <a:latin typeface="Segoe UI Light"/>
                <a:cs typeface="Segoe UI Light"/>
              </a:rPr>
              <a:t> – The additional geo locations that you have configured to host data in your Microsoft 365 tenant. Multi-geo tenants span more than one geo location, for example, North America and Europe.</a:t>
            </a:r>
          </a:p>
          <a:p>
            <a:pPr marL="171450" indent="-171450">
              <a:buFont typeface="Arial"/>
              <a:buChar char="•"/>
            </a:pPr>
            <a:r>
              <a:rPr lang="en-US" b="1">
                <a:latin typeface="Segoe UI Light"/>
                <a:cs typeface="Segoe UI Light"/>
              </a:rPr>
              <a:t>Preferred Data Location (PDL)</a:t>
            </a:r>
            <a:r>
              <a:rPr lang="en-US">
                <a:latin typeface="Segoe UI Light"/>
                <a:cs typeface="Segoe UI Light"/>
              </a:rPr>
              <a:t> – The geo location where an individual user's Exchange and OneDrive data is stored. This can be set by the administrator to any of the geo locations that have been configured for the tenant. Note that if you change the PDL for a user who already has a OneDrive site, their OneDrive data is not moved to the new geo location automatically. See </a:t>
            </a:r>
            <a:r>
              <a:rPr lang="en-US">
                <a:latin typeface="Segoe UI Light"/>
                <a:cs typeface="Segoe UI Light"/>
                <a:hlinkClick r:id="rId5"/>
              </a:rPr>
              <a:t>Move a OneDrive library to a different geo-location</a:t>
            </a:r>
            <a:r>
              <a:rPr lang="en-US">
                <a:latin typeface="Segoe UI Light"/>
                <a:cs typeface="Segoe UI Light"/>
              </a:rPr>
              <a:t> for more information. If they have an Exchange mailbox, the mailbox is moved to the new preferred data location automatically.</a:t>
            </a:r>
          </a:p>
          <a:p>
            <a:endParaRPr lang="en-US">
              <a:latin typeface="Segoe UI Light"/>
              <a:cs typeface="Segoe UI Light"/>
            </a:endParaRPr>
          </a:p>
          <a:p>
            <a:r>
              <a:rPr lang="en-US">
                <a:latin typeface="Segoe UI Light"/>
                <a:cs typeface="Segoe UI Light"/>
                <a:hlinkClick r:id="rId6"/>
              </a:rPr>
              <a:t>Plan for Microsoft 365 Multi-Geo - Microsoft 365 Enterprise | Microsoft Docs</a:t>
            </a:r>
            <a:endParaRPr lang="en-US">
              <a:latin typeface="Segoe UI Light"/>
              <a:cs typeface="Segoe UI Light"/>
            </a:endParaRPr>
          </a:p>
          <a:p>
            <a:endParaRPr lang="en-US">
              <a:cs typeface="Segoe UI Light"/>
            </a:endParaRPr>
          </a:p>
          <a:p>
            <a:r>
              <a:rPr lang="en-US">
                <a:hlinkClick r:id="rId7"/>
              </a:rPr>
              <a:t>Administering a multi-geo environment - Microsoft 365 Enterprise | Microsoft Docs</a:t>
            </a:r>
            <a:endParaRPr lang="en-US"/>
          </a:p>
          <a:p>
            <a:endParaRPr lang="en-US">
              <a:cs typeface="Segoe UI Light"/>
            </a:endParaRPr>
          </a:p>
          <a:p>
            <a:endParaRPr lang="en-US">
              <a:cs typeface="Segoe UI Light"/>
            </a:endParaRPr>
          </a:p>
          <a:p>
            <a:endParaRPr lang="en-US">
              <a:cs typeface="Segoe UI Light"/>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9: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4243345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System requirements, limits, and configuration values for canvas apps - Power Apps | Microsoft Docs</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9: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24023107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System requirements, limits, and configuration values for canvas apps - Power Apps | Microsoft Docs</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9: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2348597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1/10/2023</a:t>
            </a:fld>
            <a:endParaRPr lang="en-US"/>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1613028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e lab file M1_PowerApps_PowerUser_Prereq.docx and complete all tasks for Exercise 1 and 2</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9: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40358332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indent="0">
              <a:buFontTx/>
              <a:buNone/>
            </a:pPr>
            <a:r>
              <a:rPr lang="en-US" b="1"/>
              <a:t>Discuss:</a:t>
            </a:r>
          </a:p>
          <a:p>
            <a:pPr marL="0" indent="0">
              <a:buFontTx/>
              <a:buNone/>
            </a:pPr>
            <a:endParaRPr lang="en-US"/>
          </a:p>
          <a:p>
            <a:pPr marL="0" indent="0">
              <a:buFontTx/>
              <a:buNone/>
            </a:pPr>
            <a:r>
              <a:rPr lang="en-US"/>
              <a:t>To access go to: https://make.powerapps.com</a:t>
            </a:r>
          </a:p>
          <a:p>
            <a:pPr marL="0" indent="0">
              <a:buFontTx/>
              <a:buNone/>
            </a:pPr>
            <a:endParaRPr lang="en-US"/>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sz="900">
                <a:solidFill>
                  <a:schemeClr val="tx1">
                    <a:lumMod val="85000"/>
                    <a:lumOff val="15000"/>
                  </a:schemeClr>
                </a:solidFill>
                <a:latin typeface="Segoe UI Light" panose="020B0502040204020203" pitchFamily="34" charset="0"/>
                <a:cs typeface="Segoe UI Light" panose="020B0502040204020203" pitchFamily="34" charset="0"/>
              </a:rPr>
              <a:t>Craft forms and screens in a visual designer that helps you see exactly what you’ll get</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sz="900">
                <a:solidFill>
                  <a:schemeClr val="tx1">
                    <a:lumMod val="85000"/>
                    <a:lumOff val="15000"/>
                  </a:schemeClr>
                </a:solidFill>
                <a:latin typeface="Segoe UI Light" panose="020B0502040204020203" pitchFamily="34" charset="0"/>
                <a:cs typeface="Segoe UI Light" panose="020B0502040204020203" pitchFamily="34" charset="0"/>
              </a:rPr>
              <a:t>Take advantage of device capabilities like cameras, GPS, and pen controls </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sz="900">
                <a:solidFill>
                  <a:schemeClr val="tx1">
                    <a:lumMod val="85000"/>
                    <a:lumOff val="15000"/>
                  </a:schemeClr>
                </a:solidFill>
                <a:latin typeface="Segoe UI Light" panose="020B0502040204020203" pitchFamily="34" charset="0"/>
                <a:cs typeface="Segoe UI Light" panose="020B0502040204020203" pitchFamily="34" charset="0"/>
              </a:rPr>
              <a:t>Build business logic into your apps with an Excel-inspired expression language</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sz="900">
                <a:solidFill>
                  <a:schemeClr val="tx1">
                    <a:lumMod val="85000"/>
                    <a:lumOff val="15000"/>
                  </a:schemeClr>
                </a:solidFill>
                <a:latin typeface="Segoe UI Light" panose="020B0502040204020203" pitchFamily="34" charset="0"/>
                <a:cs typeface="Segoe UI Light" panose="020B0502040204020203" pitchFamily="34" charset="0"/>
              </a:rPr>
              <a:t>Connect multiple existing data sources or create your own data to power your app</a:t>
            </a:r>
          </a:p>
          <a:p>
            <a:pPr marL="171450" marR="0" lvl="0" indent="-171450" algn="l" defTabSz="932742" rtl="0" eaLnBrk="1" fontAlgn="auto" latinLnBrk="0" hangingPunct="1">
              <a:lnSpc>
                <a:spcPct val="90000"/>
              </a:lnSpc>
              <a:spcBef>
                <a:spcPts val="0"/>
              </a:spcBef>
              <a:spcAft>
                <a:spcPts val="340"/>
              </a:spcAft>
              <a:buClrTx/>
              <a:buSzTx/>
              <a:buFontTx/>
              <a:buChar char="-"/>
              <a:tabLst/>
              <a:defRPr/>
            </a:pPr>
            <a:endParaRPr lang="en-US" sz="900">
              <a:solidFill>
                <a:schemeClr val="tx1">
                  <a:lumMod val="85000"/>
                  <a:lumOff val="15000"/>
                </a:schemeClr>
              </a:solidFill>
              <a:latin typeface="Segoe UI Light" panose="020B0502040204020203" pitchFamily="34" charset="0"/>
              <a:cs typeface="Segoe UI Light" panose="020B0502040204020203" pitchFamily="34" charset="0"/>
            </a:endParaRPr>
          </a:p>
          <a:p>
            <a:pPr marL="0" indent="0">
              <a:buFontTx/>
              <a:buNone/>
            </a:pPr>
            <a:r>
              <a:rPr lang="en-US" b="1"/>
              <a:t>Mention:</a:t>
            </a:r>
          </a:p>
          <a:p>
            <a:pPr marL="0" indent="0">
              <a:buFontTx/>
              <a:buNone/>
            </a:pPr>
            <a:endParaRPr lang="en-US"/>
          </a:p>
          <a:p>
            <a:r>
              <a:rPr lang="en-US"/>
              <a:t>Building useful line-of-business apps without needing to</a:t>
            </a:r>
            <a:r>
              <a:rPr lang="en-US" baseline="0"/>
              <a:t> write code is, some of the key highlights through the Power Apps Studio :  </a:t>
            </a:r>
          </a:p>
          <a:p>
            <a:endParaRPr lang="en-US" baseline="0"/>
          </a:p>
          <a:p>
            <a:pPr marL="171450" indent="-171450">
              <a:buFontTx/>
              <a:buChar char="-"/>
            </a:pPr>
            <a:r>
              <a:rPr lang="en-US" baseline="0"/>
              <a:t>A visual designer with a familiar user experience that enable you to build the screens you need to power your App. </a:t>
            </a:r>
          </a:p>
          <a:p>
            <a:pPr marL="171450" indent="-171450">
              <a:buFontTx/>
              <a:buChar char="-"/>
            </a:pPr>
            <a:r>
              <a:rPr lang="en-US" baseline="0"/>
              <a:t>You can build validation rules and business logic right into your screen using an Excel-function inspired expression language.</a:t>
            </a:r>
          </a:p>
          <a:p>
            <a:pPr marL="171450" indent="-171450">
              <a:buFontTx/>
              <a:buChar char="-"/>
            </a:pPr>
            <a:r>
              <a:rPr lang="en-US" baseline="0"/>
              <a:t>Take advance of the devoice specific sensor capabilities like cameras, GPS and Pen Controls to improve context awareness of the app and build even more powerful apps</a:t>
            </a:r>
          </a:p>
          <a:p>
            <a:pPr marL="0" indent="0">
              <a:buFontTx/>
              <a:buNone/>
            </a:pPr>
            <a:endParaRPr lang="en-US"/>
          </a:p>
        </p:txBody>
      </p:sp>
      <p:sp>
        <p:nvSpPr>
          <p:cNvPr id="5" name="Date Placeholder 4"/>
          <p:cNvSpPr>
            <a:spLocks noGrp="1"/>
          </p:cNvSpPr>
          <p:nvPr>
            <p:ph type="dt" idx="11"/>
          </p:nvPr>
        </p:nvSpPr>
        <p:spPr/>
        <p:txBody>
          <a:bodyPr/>
          <a:lstStyle/>
          <a:p>
            <a:fld id="{E74353ED-ACB2-44BF-A903-985B0AF962B7}" type="datetime1">
              <a:rPr lang="en-US" smtClean="0"/>
              <a:t>1/10/2023</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27135600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pPr marL="228600" indent="-228600">
              <a:buFont typeface="+mj-lt"/>
              <a:buAutoNum type="arabicPeriod"/>
            </a:pPr>
            <a:r>
              <a:rPr lang="en-US" sz="900"/>
              <a:t>Left hand navigation</a:t>
            </a:r>
          </a:p>
          <a:p>
            <a:pPr marL="228600" indent="-228600">
              <a:buFont typeface="+mj-lt"/>
              <a:buAutoNum type="arabicPeriod"/>
            </a:pPr>
            <a:r>
              <a:rPr lang="en-US" sz="900"/>
              <a:t>Content pane</a:t>
            </a:r>
          </a:p>
          <a:p>
            <a:pPr marL="228600" indent="-228600">
              <a:buFont typeface="+mj-lt"/>
              <a:buAutoNum type="arabicPeriod"/>
            </a:pPr>
            <a:r>
              <a:rPr lang="en-US" sz="900"/>
              <a:t>Right hand pane (options, data sources, etc.)</a:t>
            </a:r>
          </a:p>
          <a:p>
            <a:pPr marL="228600" indent="-228600">
              <a:buFont typeface="+mj-lt"/>
              <a:buAutoNum type="arabicPeriod"/>
            </a:pPr>
            <a:r>
              <a:rPr lang="en-US" sz="900"/>
              <a:t>Dropdown list of properties</a:t>
            </a:r>
          </a:p>
          <a:p>
            <a:pPr marL="228600" indent="-228600">
              <a:buFont typeface="+mj-lt"/>
              <a:buAutoNum type="arabicPeriod"/>
            </a:pPr>
            <a:r>
              <a:rPr lang="en-US" sz="900"/>
              <a:t>Formula bar for selected property</a:t>
            </a:r>
          </a:p>
          <a:p>
            <a:pPr marL="228600" indent="-228600">
              <a:buFont typeface="+mj-lt"/>
              <a:buAutoNum type="arabicPeriod"/>
            </a:pPr>
            <a:r>
              <a:rPr lang="en-US" sz="900"/>
              <a:t>Ribbon</a:t>
            </a:r>
          </a:p>
          <a:p>
            <a:pPr marL="0" marR="0" lvl="0" indent="0" algn="l" defTabSz="914354" rtl="0" eaLnBrk="1" fontAlgn="auto" latinLnBrk="0" hangingPunct="1">
              <a:lnSpc>
                <a:spcPct val="114000"/>
              </a:lnSpc>
              <a:spcBef>
                <a:spcPts val="0"/>
              </a:spcBef>
              <a:spcAft>
                <a:spcPts val="0"/>
              </a:spcAft>
              <a:buClrTx/>
              <a:buSzPct val="116000"/>
              <a:buFont typeface="Arial" panose="020B0604020202020204" pitchFamily="34" charset="0"/>
              <a:buNone/>
              <a:tabLst/>
              <a:defRPr/>
            </a:pPr>
            <a:endParaRPr lang="en-US" b="1">
              <a:ea typeface="Segoe UI" panose="020B0502040204020203" pitchFamily="34" charset="0"/>
            </a:endParaRPr>
          </a:p>
          <a:p>
            <a:pPr marL="0" marR="0" lvl="0" indent="0" algn="l" defTabSz="914354" rtl="0" eaLnBrk="1" fontAlgn="auto" latinLnBrk="0" hangingPunct="1">
              <a:lnSpc>
                <a:spcPct val="114000"/>
              </a:lnSpc>
              <a:spcBef>
                <a:spcPts val="0"/>
              </a:spcBef>
              <a:spcAft>
                <a:spcPts val="0"/>
              </a:spcAft>
              <a:buClrTx/>
              <a:buSzPct val="116000"/>
              <a:buFont typeface="Arial" panose="020B0604020202020204" pitchFamily="34" charset="0"/>
              <a:buNone/>
              <a:tabLst/>
              <a:defRPr/>
            </a:pPr>
            <a:r>
              <a:rPr lang="en-US" b="1">
                <a:ea typeface="Segoe UI" panose="020B0502040204020203" pitchFamily="34" charset="0"/>
              </a:rPr>
              <a:t>For more information </a:t>
            </a:r>
            <a:r>
              <a:rPr lang="en-US">
                <a:ea typeface="Segoe UI" panose="020B0502040204020203" pitchFamily="34" charset="0"/>
              </a:rPr>
              <a:t>on Power Apps Studio introduction, see: </a:t>
            </a:r>
            <a:r>
              <a:rPr lang="en-US" u="sng">
                <a:ea typeface="Segoe UI" panose="020B0502040204020203" pitchFamily="34" charset="0"/>
              </a:rPr>
              <a:t>https://powerapps.microsoft.com/en-us/guided-learning/learning-powerapps-parts/</a:t>
            </a:r>
          </a:p>
          <a:p>
            <a:pPr marL="0" marR="0" lvl="0" indent="0" algn="l" defTabSz="914354" rtl="0" eaLnBrk="1" fontAlgn="auto" latinLnBrk="0" hangingPunct="1">
              <a:lnSpc>
                <a:spcPct val="114000"/>
              </a:lnSpc>
              <a:spcBef>
                <a:spcPts val="0"/>
              </a:spcBef>
              <a:spcAft>
                <a:spcPts val="0"/>
              </a:spcAft>
              <a:buClrTx/>
              <a:buSzPct val="116000"/>
              <a:buFont typeface="Arial" panose="020B0604020202020204" pitchFamily="34" charset="0"/>
              <a:buNone/>
              <a:tabLst/>
              <a:defRPr/>
            </a:pPr>
            <a:endParaRPr lang="en-US"/>
          </a:p>
        </p:txBody>
      </p:sp>
      <p:sp>
        <p:nvSpPr>
          <p:cNvPr id="4" name="Slide Number Placeholder 3"/>
          <p:cNvSpPr>
            <a:spLocks noGrp="1"/>
          </p:cNvSpPr>
          <p:nvPr>
            <p:ph type="sldNum" sz="quarter" idx="10"/>
          </p:nvPr>
        </p:nvSpPr>
        <p:spPr/>
        <p:txBody>
          <a:bodyPr/>
          <a:lstStyle/>
          <a:p>
            <a:fld id="{1489DB6A-E92B-415B-AFB4-9C72D4A9006D}" type="slidenum">
              <a:rPr lang="en-US" smtClean="0"/>
              <a:t>28</a:t>
            </a:fld>
            <a:endParaRPr lang="en-US"/>
          </a:p>
        </p:txBody>
      </p:sp>
    </p:spTree>
    <p:extLst>
      <p:ext uri="{BB962C8B-B14F-4D97-AF65-F5344CB8AC3E}">
        <p14:creationId xmlns:p14="http://schemas.microsoft.com/office/powerpoint/2010/main" val="34788436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10"/>
          </p:nvPr>
        </p:nvSpPr>
        <p:spPr/>
        <p:txBody>
          <a:bodyPr/>
          <a:lstStyle/>
          <a:p>
            <a:fld id="{AF7A91F6-C84C-D54B-9DE1-2A2DF49EE04F}" type="slidenum">
              <a:rPr lang="en-US" smtClean="0"/>
              <a:pPr/>
              <a:t>29</a:t>
            </a:fld>
            <a:endParaRPr lang="en-US"/>
          </a:p>
        </p:txBody>
      </p:sp>
    </p:spTree>
    <p:extLst>
      <p:ext uri="{BB962C8B-B14F-4D97-AF65-F5344CB8AC3E}">
        <p14:creationId xmlns:p14="http://schemas.microsoft.com/office/powerpoint/2010/main" val="28987222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pPr marL="0" indent="0">
              <a:buNone/>
            </a:pPr>
            <a:r>
              <a:rPr lang="en-US"/>
              <a:t>Create an app from template uses predesigned templates to get the app creator</a:t>
            </a:r>
            <a:r>
              <a:rPr lang="en-US" baseline="0"/>
              <a:t> started building an application.</a:t>
            </a:r>
            <a:endParaRPr lang="en-US"/>
          </a:p>
          <a:p>
            <a:pPr marL="0" indent="0">
              <a:buNone/>
            </a:pPr>
            <a:endParaRPr lang="en-US"/>
          </a:p>
          <a:p>
            <a:pPr marL="0" indent="0">
              <a:buNone/>
            </a:pPr>
            <a:r>
              <a:rPr lang="en-US"/>
              <a:t>Create an app from data allows the app creator to connect to a predefined</a:t>
            </a:r>
            <a:r>
              <a:rPr lang="en-US" baseline="0"/>
              <a:t> set of connectors (SharePoint, SQL Server, Oracle, Salesforce, Excel files on multiple cloud services, and more).  At the time of writing only phone layouts can be used for </a:t>
            </a:r>
            <a:endParaRPr lang="en-US"/>
          </a:p>
          <a:p>
            <a:pPr marL="0" indent="0">
              <a:buNone/>
            </a:pPr>
            <a:endParaRPr lang="en-US"/>
          </a:p>
          <a:p>
            <a:pPr marL="0" indent="0">
              <a:buNone/>
            </a:pPr>
            <a:r>
              <a:rPr lang="en-US"/>
              <a:t>Create an app from scratch</a:t>
            </a:r>
            <a:r>
              <a:rPr lang="en-US" baseline="0"/>
              <a:t> allows the app creator to design and connect to data as they see fit.</a:t>
            </a:r>
            <a:endParaRPr lang="en-US"/>
          </a:p>
          <a:p>
            <a:pPr marL="0" indent="0">
              <a:buNone/>
            </a:pPr>
            <a:endParaRPr lang="en-US"/>
          </a:p>
          <a:p>
            <a:pPr marL="171442" marR="0" lvl="0" indent="-171442" algn="l" defTabSz="914354" rtl="0" eaLnBrk="1" fontAlgn="auto" latinLnBrk="0" hangingPunct="1">
              <a:lnSpc>
                <a:spcPct val="114000"/>
              </a:lnSpc>
              <a:spcBef>
                <a:spcPts val="0"/>
              </a:spcBef>
              <a:spcAft>
                <a:spcPts val="0"/>
              </a:spcAft>
              <a:buClrTx/>
              <a:buSzPct val="116000"/>
              <a:buFont typeface="Arial" panose="020B0604020202020204" pitchFamily="34" charset="0"/>
              <a:buChar char="•"/>
              <a:tabLst/>
              <a:defRPr/>
            </a:pPr>
            <a:r>
              <a:rPr lang="en-US" b="1"/>
              <a:t>For more</a:t>
            </a:r>
            <a:r>
              <a:rPr lang="en-US" b="1" baseline="0"/>
              <a:t> information</a:t>
            </a:r>
            <a:r>
              <a:rPr lang="en-US" baseline="0"/>
              <a:t> on Create an app from a template, see: </a:t>
            </a:r>
            <a:r>
              <a:rPr lang="en-US"/>
              <a:t>https://powerapps.microsoft.com/en-us/tutorials/get-started-test-drive/</a:t>
            </a:r>
          </a:p>
          <a:p>
            <a:pPr marL="171442" marR="0" lvl="0" indent="-171442" algn="l" defTabSz="914354" rtl="0" eaLnBrk="1" fontAlgn="auto" latinLnBrk="0" hangingPunct="1">
              <a:lnSpc>
                <a:spcPct val="114000"/>
              </a:lnSpc>
              <a:spcBef>
                <a:spcPts val="0"/>
              </a:spcBef>
              <a:spcAft>
                <a:spcPts val="0"/>
              </a:spcAft>
              <a:buClrTx/>
              <a:buSzPct val="116000"/>
              <a:buFont typeface="Arial" panose="020B0604020202020204" pitchFamily="34" charset="0"/>
              <a:buChar char="•"/>
              <a:tabLst/>
              <a:defRPr/>
            </a:pPr>
            <a:r>
              <a:rPr lang="en-US" b="1"/>
              <a:t>For more</a:t>
            </a:r>
            <a:r>
              <a:rPr lang="en-US" b="1" baseline="0"/>
              <a:t> information</a:t>
            </a:r>
            <a:r>
              <a:rPr lang="en-US" baseline="0"/>
              <a:t> on Create an app from data, see: </a:t>
            </a:r>
            <a:r>
              <a:rPr lang="en-US"/>
              <a:t>https://powerapps.microsoft.com/en-us/guided-learning/learning-create-first-app-powerapps/</a:t>
            </a:r>
          </a:p>
          <a:p>
            <a:pPr marL="171442" marR="0" lvl="0" indent="-171442" algn="l" defTabSz="914354" rtl="0" eaLnBrk="1" fontAlgn="auto" latinLnBrk="0" hangingPunct="1">
              <a:lnSpc>
                <a:spcPct val="114000"/>
              </a:lnSpc>
              <a:spcBef>
                <a:spcPts val="0"/>
              </a:spcBef>
              <a:spcAft>
                <a:spcPts val="0"/>
              </a:spcAft>
              <a:buClrTx/>
              <a:buSzPct val="116000"/>
              <a:buFont typeface="Arial" panose="020B0604020202020204" pitchFamily="34" charset="0"/>
              <a:buChar char="•"/>
              <a:tabLst/>
              <a:defRPr/>
            </a:pPr>
            <a:r>
              <a:rPr lang="en-US" b="1"/>
              <a:t>For more</a:t>
            </a:r>
            <a:r>
              <a:rPr lang="en-US" b="1" baseline="0"/>
              <a:t> information</a:t>
            </a:r>
            <a:r>
              <a:rPr lang="en-US" baseline="0"/>
              <a:t> on Create an app from scratch, see: </a:t>
            </a:r>
            <a:r>
              <a:rPr lang="en-US"/>
              <a:t>https://powerapps.microsoft.com/en-us/tutorials/get-started-create-from-blank/</a:t>
            </a:r>
          </a:p>
          <a:p>
            <a:pPr marL="0" marR="0" lvl="0" indent="0" algn="l" defTabSz="914354" rtl="0" eaLnBrk="1" fontAlgn="auto" latinLnBrk="0" hangingPunct="1">
              <a:lnSpc>
                <a:spcPct val="114000"/>
              </a:lnSpc>
              <a:spcBef>
                <a:spcPts val="0"/>
              </a:spcBef>
              <a:spcAft>
                <a:spcPts val="0"/>
              </a:spcAft>
              <a:buClrTx/>
              <a:buSzPct val="116000"/>
              <a:buFont typeface="Arial" panose="020B0604020202020204" pitchFamily="34" charset="0"/>
              <a:buNone/>
              <a:tabLst/>
              <a:defRPr/>
            </a:pPr>
            <a:endParaRPr lang="en-US"/>
          </a:p>
        </p:txBody>
      </p:sp>
      <p:sp>
        <p:nvSpPr>
          <p:cNvPr id="4" name="Slide Number Placeholder 3"/>
          <p:cNvSpPr>
            <a:spLocks noGrp="1"/>
          </p:cNvSpPr>
          <p:nvPr>
            <p:ph type="sldNum" sz="quarter" idx="10"/>
          </p:nvPr>
        </p:nvSpPr>
        <p:spPr/>
        <p:txBody>
          <a:bodyPr/>
          <a:lstStyle/>
          <a:p>
            <a:fld id="{1489DB6A-E92B-415B-AFB4-9C72D4A9006D}" type="slidenum">
              <a:rPr lang="en-US" smtClean="0"/>
              <a:t>30</a:t>
            </a:fld>
            <a:endParaRPr lang="en-US"/>
          </a:p>
        </p:txBody>
      </p:sp>
    </p:spTree>
    <p:extLst>
      <p:ext uri="{BB962C8B-B14F-4D97-AF65-F5344CB8AC3E}">
        <p14:creationId xmlns:p14="http://schemas.microsoft.com/office/powerpoint/2010/main" val="38667100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iscuss:</a:t>
            </a:r>
          </a:p>
          <a:p>
            <a:endParaRPr lang="en-US"/>
          </a:p>
          <a:p>
            <a:pPr marL="171450" indent="-171450">
              <a:buFontTx/>
              <a:buChar char="-"/>
            </a:pPr>
            <a:r>
              <a:rPr lang="en-US"/>
              <a:t>Power Apps assumes mobile-first development, and as such, asks you to choose between an app optimized for phone or tablet screen size, and then orientation.</a:t>
            </a:r>
          </a:p>
          <a:p>
            <a:pPr marL="171450" indent="-171450">
              <a:buFontTx/>
              <a:buChar char="-"/>
            </a:pPr>
            <a:r>
              <a:rPr lang="en-US"/>
              <a:t>Once you make this choice, you cannot go back and change it, so it is a very important first decision. It is recommended to start with a phone layout, as the images, fonts, and UI controls will scale up when viewed on a tablet and look acceptable. If you start with Tablet, and then view on a phone, fonts and UI elements will shrink proportionately on the phone and may be too small to read effectively.</a:t>
            </a:r>
          </a:p>
          <a:p>
            <a:pPr marL="171450" indent="-171450">
              <a:buFontTx/>
              <a:buChar char="-"/>
            </a:pPr>
            <a:r>
              <a:rPr lang="en-US"/>
              <a:t>You can also choose the orientation of the app, and whether the app is locked to that orientation and aspect ratio.</a:t>
            </a:r>
          </a:p>
          <a:p>
            <a:pPr marL="171450" indent="-171450">
              <a:buFontTx/>
              <a:buChar char="-"/>
            </a:pPr>
            <a:r>
              <a:rPr lang="en-US"/>
              <a:t>Apps can adjust UI controls and elements to changing orientations by using formulas based on the ActiveScreen.Width or ActiveScreen.Height calculation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9: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11085796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Mention</a:t>
            </a:r>
          </a:p>
          <a:p>
            <a:endParaRPr lang="en-US"/>
          </a:p>
          <a:p>
            <a:pPr marL="171450" indent="-171450">
              <a:buFont typeface="Arial" panose="020B0604020202020204" pitchFamily="34" charset="0"/>
              <a:buChar char="•"/>
            </a:pPr>
            <a:r>
              <a:rPr lang="en-US"/>
              <a:t>Minimal effort to configure</a:t>
            </a:r>
          </a:p>
          <a:p>
            <a:pPr marL="171450" indent="-171450">
              <a:buFont typeface="Arial" panose="020B0604020202020204" pitchFamily="34" charset="0"/>
              <a:buChar char="•"/>
            </a:pPr>
            <a:r>
              <a:rPr lang="en-US"/>
              <a:t>Uses controls to maintain the desired experience</a:t>
            </a:r>
          </a:p>
          <a:p>
            <a:pPr marL="171450" indent="-171450">
              <a:buFont typeface="Arial" panose="020B0604020202020204" pitchFamily="34" charset="0"/>
              <a:buChar char="•"/>
            </a:pPr>
            <a:r>
              <a:rPr lang="en-US"/>
              <a:t>Discuss further in Module 4</a:t>
            </a:r>
          </a:p>
          <a:p>
            <a:pPr marL="0" indent="0">
              <a:buFont typeface="Arial" panose="020B0604020202020204" pitchFamily="34" charset="0"/>
              <a:buNone/>
            </a:pPr>
            <a:endParaRPr lang="en-US"/>
          </a:p>
          <a:p>
            <a:pPr marL="0" indent="0">
              <a:buFont typeface="Arial" panose="020B0604020202020204" pitchFamily="34" charset="0"/>
              <a:buNone/>
            </a:pPr>
            <a:r>
              <a:rPr lang="en-US" b="1"/>
              <a:t>Discuss</a:t>
            </a:r>
            <a:endParaRPr lang="en-US" b="0"/>
          </a:p>
          <a:p>
            <a:pPr marL="0" indent="0">
              <a:buFont typeface="Arial" panose="020B0604020202020204" pitchFamily="34" charset="0"/>
              <a:buNone/>
            </a:pPr>
            <a:endParaRPr lang="en-US" b="0"/>
          </a:p>
          <a:p>
            <a:pPr marL="0" indent="0">
              <a:buFont typeface="Arial" panose="020B0604020202020204" pitchFamily="34" charset="0"/>
              <a:buNone/>
            </a:pPr>
            <a:r>
              <a:rPr lang="en-US" b="0" i="0">
                <a:solidFill>
                  <a:srgbClr val="171717"/>
                </a:solidFill>
                <a:effectLst/>
                <a:latin typeface="Segoe UI" panose="020B0502040204020203" pitchFamily="34" charset="0"/>
              </a:rPr>
              <a:t>Creating a responsive layout means controls can respond to different devices or window sizes, making various experiences feel more natural.</a:t>
            </a:r>
            <a:endParaRPr lang="en-US" b="1" i="0">
              <a:solidFill>
                <a:srgbClr val="000000"/>
              </a:solidFill>
              <a:effectLst/>
              <a:cs typeface="Segoe UI Light" pitchFamily="34" charset="0"/>
            </a:endParaRPr>
          </a:p>
          <a:p>
            <a:r>
              <a:rPr lang="en-US"/>
              <a:t>Responsiveness allows different elements of the app to specify how they:</a:t>
            </a:r>
          </a:p>
          <a:p>
            <a:pPr marL="171450" indent="-171450">
              <a:buFont typeface="Arial"/>
              <a:buChar char="•"/>
            </a:pPr>
            <a:r>
              <a:rPr lang="en-US"/>
              <a:t>Stretch or resize with the screen size changes.</a:t>
            </a:r>
          </a:p>
          <a:p>
            <a:pPr marL="171450" indent="-171450">
              <a:buFont typeface="Arial"/>
              <a:buChar char="•"/>
            </a:pPr>
            <a:r>
              <a:rPr lang="en-US"/>
              <a:t>Maintain or change positions with the screen size changes.</a:t>
            </a:r>
          </a:p>
          <a:p>
            <a:pPr>
              <a:buFont typeface="Arial" panose="020B0604020202020204" pitchFamily="34" charset="0"/>
            </a:pPr>
            <a:endParaRPr lang="en-US">
              <a:solidFill>
                <a:srgbClr val="171717"/>
              </a:solidFill>
              <a:latin typeface="Segoe UI"/>
              <a:cs typeface="Segoe UI"/>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9: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37521104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example shows us the properties for a control or screen in the dropdown on the left. On the right, we can see the associated formula bar for that property. In this example, we’ve placed a Navigate() formula for the OnSelect event/property of a Button control, telling it to navigate to the “Planners” screen.</a:t>
            </a:r>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10/2023</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17375668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r>
              <a:rPr lang="en-US">
                <a:hlinkClick r:id="rId3"/>
              </a:rPr>
              <a:t>Introduction to lists - SharePoint </a:t>
            </a:r>
            <a:r>
              <a:rPr lang="en-US" baseline="0">
                <a:hlinkClick r:id="rId3"/>
              </a:rPr>
              <a:t>(</a:t>
            </a:r>
            <a:r>
              <a:rPr lang="en-US">
                <a:hlinkClick r:id="rId3"/>
              </a:rPr>
              <a:t>microsoft.com)</a:t>
            </a:r>
            <a:endParaRPr lang="en-US"/>
          </a:p>
        </p:txBody>
      </p:sp>
      <p:sp>
        <p:nvSpPr>
          <p:cNvPr id="4" name="Slide Number Placeholder 3"/>
          <p:cNvSpPr>
            <a:spLocks noGrp="1"/>
          </p:cNvSpPr>
          <p:nvPr>
            <p:ph type="sldNum" sz="quarter" idx="10"/>
          </p:nvPr>
        </p:nvSpPr>
        <p:spPr/>
        <p:txBody>
          <a:bodyPr/>
          <a:lstStyle/>
          <a:p>
            <a:fld id="{1489DB6A-E92B-415B-AFB4-9C72D4A9006D}" type="slidenum">
              <a:rPr lang="en-US" smtClean="0"/>
              <a:t>34</a:t>
            </a:fld>
            <a:endParaRPr lang="en-US"/>
          </a:p>
        </p:txBody>
      </p:sp>
    </p:spTree>
    <p:extLst>
      <p:ext uri="{BB962C8B-B14F-4D97-AF65-F5344CB8AC3E}">
        <p14:creationId xmlns:p14="http://schemas.microsoft.com/office/powerpoint/2010/main" val="17180929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See lab file M1_PowerApps_PowerUser_Prereq.docx and complete all tasks for Exercise 3 and 4</a:t>
            </a:r>
          </a:p>
          <a:p>
            <a:endParaRPr lang="de-AT">
              <a:ea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489DB6A-E92B-415B-AFB4-9C72D4A9006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50431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9: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2118460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20000"/>
              </a:lnSpc>
              <a:spcBef>
                <a:spcPts val="0"/>
              </a:spcBef>
              <a:spcAft>
                <a:spcPts val="300"/>
              </a:spcAft>
              <a:buNone/>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9: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7595171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D3E44BDE-2AB0-49D2-8E67-B5D3E7155170}" type="datetime8">
              <a:rPr lang="en-US" smtClean="0">
                <a:solidFill>
                  <a:prstClr val="black"/>
                </a:solidFill>
              </a:rPr>
              <a:t>1/10/2023 9:43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8</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5071878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r>
              <a:rPr lang="en-US">
                <a:latin typeface="Segoe UI Light"/>
                <a:cs typeface="Segoe UI Light"/>
              </a:rPr>
              <a:t>MSFT PowerApps</a:t>
            </a:r>
            <a:r>
              <a:rPr lang="en-US" baseline="0">
                <a:latin typeface="Segoe UI Light"/>
                <a:cs typeface="Segoe UI Light"/>
              </a:rPr>
              <a:t> is a SaaS service for creating and using custom customer business apps across different mobile and web platforms</a:t>
            </a:r>
          </a:p>
          <a:p>
            <a:endParaRPr lang="en-US"/>
          </a:p>
          <a:p>
            <a:pPr marL="171450" indent="-171450">
              <a:buFont typeface="Arial" panose="020B0604020202020204" pitchFamily="34" charset="0"/>
              <a:buChar char="•"/>
            </a:pPr>
            <a:r>
              <a:rPr lang="en-US">
                <a:latin typeface="Segoe UI Light"/>
                <a:cs typeface="Segoe UI Light"/>
              </a:rPr>
              <a:t>It</a:t>
            </a:r>
            <a:r>
              <a:rPr lang="en-US" baseline="0">
                <a:latin typeface="Segoe UI Light"/>
                <a:cs typeface="Segoe UI Light"/>
              </a:rPr>
              <a:t> connect to excising enterprise systems and data sources you already have allows you to build LOB apps that utilizing the investment you’ve already made in your existing enterprise systems, without have to duplicate data and thus keeping a ‘clean’ single version ‘of the truth’</a:t>
            </a:r>
            <a:r>
              <a:rPr lang="en-US">
                <a:latin typeface="Segoe UI Light"/>
                <a:cs typeface="Segoe UI Light"/>
              </a:rPr>
              <a:t> </a:t>
            </a:r>
          </a:p>
          <a:p>
            <a:pPr marL="171450" indent="-171450">
              <a:buFont typeface="Arial" panose="020B0604020202020204" pitchFamily="34" charset="0"/>
              <a:buChar char="•"/>
            </a:pPr>
            <a:r>
              <a:rPr lang="en-US">
                <a:latin typeface="Segoe UI Light"/>
                <a:cs typeface="Segoe UI Light"/>
              </a:rPr>
              <a:t>PowerApps enables</a:t>
            </a:r>
            <a:r>
              <a:rPr lang="en-US" baseline="0">
                <a:latin typeface="Segoe UI Light"/>
                <a:cs typeface="Segoe UI Light"/>
              </a:rPr>
              <a:t> you to build Apps without have to write code. It enables you to build Apps declaratively. </a:t>
            </a:r>
            <a:r>
              <a:rPr lang="en-US">
                <a:latin typeface="Segoe UI Light"/>
                <a:cs typeface="Segoe UI Light"/>
              </a:rPr>
              <a:t>With PowerApps, business experts can work more efficiently together with their counterparts in IT and consulting partners, literally on the same page in a visual designer—or solve problems on their own. Through an integration with Microsoft Flow, you can trigger flows right</a:t>
            </a:r>
            <a:r>
              <a:rPr lang="en-US" baseline="0">
                <a:latin typeface="Segoe UI Light"/>
                <a:cs typeface="Segoe UI Light"/>
              </a:rPr>
              <a:t> </a:t>
            </a:r>
            <a:r>
              <a:rPr lang="en-US">
                <a:latin typeface="Segoe UI Light"/>
                <a:cs typeface="Segoe UI Light"/>
              </a:rPr>
              <a:t>from within apps.</a:t>
            </a:r>
            <a:endParaRPr lang="en-US" baseline="0">
              <a:latin typeface="Segoe UI Light"/>
              <a:cs typeface="Segoe UI Light"/>
            </a:endParaRPr>
          </a:p>
          <a:p>
            <a:pPr marL="171450" indent="-171450">
              <a:buFont typeface="Arial" panose="020B0604020202020204" pitchFamily="34" charset="0"/>
              <a:buChar char="•"/>
            </a:pPr>
            <a:r>
              <a:rPr lang="en-US">
                <a:latin typeface="Segoe UI Light"/>
                <a:cs typeface="Segoe UI Light"/>
              </a:rPr>
              <a:t>The Apps can be published instantly to co-workers across web, tablets and mobile devices for easy</a:t>
            </a:r>
            <a:r>
              <a:rPr lang="en-US" baseline="0">
                <a:latin typeface="Segoe UI Light"/>
                <a:cs typeface="Segoe UI Light"/>
              </a:rPr>
              <a:t> sharing and consumption within your organization.</a:t>
            </a:r>
            <a:r>
              <a:rPr lang="en-US">
                <a:latin typeface="Segoe UI Light"/>
                <a:cs typeface="Segoe UI Light"/>
              </a:rPr>
              <a:t> </a:t>
            </a:r>
            <a:endParaRPr lang="en-US" baseline="0">
              <a:cs typeface="Segoe UI Light"/>
            </a:endParaRP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cs typeface="Segoe UI Light"/>
            </a:endParaRPr>
          </a:p>
          <a:p>
            <a:r>
              <a:rPr lang="en-US">
                <a:latin typeface="Segoe UI Light"/>
                <a:cs typeface="Segoe UI Light"/>
              </a:rPr>
              <a:t>Power Apps is a suite of apps, services, and connectors, as well as a data platform, that provides a rapid development environment to build custom apps for your business needs. Using Power Apps, you can quickly build custom business apps that connect to your data stored either in the underlying data platform (</a:t>
            </a:r>
            <a:r>
              <a:rPr lang="en-US">
                <a:latin typeface="Segoe UI Light"/>
                <a:cs typeface="Segoe UI Light"/>
                <a:hlinkClick r:id="rId3"/>
              </a:rPr>
              <a:t>Microsoft Dataverse</a:t>
            </a:r>
            <a:r>
              <a:rPr lang="en-US">
                <a:latin typeface="Segoe UI Light"/>
                <a:cs typeface="Segoe UI Light"/>
              </a:rPr>
              <a:t>) or in various online and on-premises data sources (such as SharePoint, Microsoft 365, Dynamics 365, SQL Server, and so on).</a:t>
            </a:r>
          </a:p>
          <a:p>
            <a:endParaRPr lang="en-US">
              <a:cs typeface="Segoe UI Light"/>
            </a:endParaRPr>
          </a:p>
          <a:p>
            <a:r>
              <a:rPr lang="en-US">
                <a:latin typeface="Segoe UI Light"/>
                <a:cs typeface="Segoe UI Light"/>
              </a:rPr>
              <a:t>Apps built using Power Apps provide rich business logic and workflow capabilities to transform your manual business operations into digital, automated processes. What's more, apps built using Power Apps have a responsive design and can run seamlessly in browser and on mobile devices (phone or tablet). Power Apps "democratizes" the business-app-building experience by enabling users to create feature-rich, custom business apps without writing code.</a:t>
            </a:r>
          </a:p>
          <a:p>
            <a:r>
              <a:rPr lang="en-US">
                <a:latin typeface="Segoe UI Light"/>
                <a:cs typeface="Segoe UI Light"/>
              </a:rPr>
              <a:t>Power Apps also provides an extensible platform that lets pro developers programmatically interact with data and metadata, apply business logic, create custom connectors, and integrate with external data.</a:t>
            </a:r>
          </a:p>
          <a:p>
            <a:endParaRPr lang="en-US">
              <a:cs typeface="Segoe UI Light"/>
            </a:endParaRP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0/20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191318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10/2023</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1760536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1" i="0">
                <a:solidFill>
                  <a:srgbClr val="171717"/>
                </a:solidFill>
                <a:effectLst/>
                <a:latin typeface="Segoe UI" panose="020B0502040204020203" pitchFamily="34" charset="0"/>
              </a:rPr>
              <a:t>Discus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0" i="0" err="1">
                <a:solidFill>
                  <a:srgbClr val="171717"/>
                </a:solidFill>
                <a:effectLst/>
                <a:latin typeface="Segoe UI" panose="020B0502040204020203" pitchFamily="34" charset="0"/>
              </a:rPr>
              <a:t>Dataverse</a:t>
            </a:r>
            <a:r>
              <a:rPr lang="en-US" b="0" i="0">
                <a:solidFill>
                  <a:srgbClr val="171717"/>
                </a:solidFill>
                <a:effectLst/>
                <a:latin typeface="Segoe UI" panose="020B0502040204020203" pitchFamily="34" charset="0"/>
              </a:rPr>
              <a:t> for Teams delivers built-in:</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0" i="0">
              <a:solidFill>
                <a:srgbClr val="171717"/>
              </a:solidFill>
              <a:effectLst/>
              <a:latin typeface="Segoe UI" panose="020B0502040204020203"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a:solidFill>
                  <a:srgbClr val="171717"/>
                </a:solidFill>
                <a:effectLst/>
                <a:latin typeface="Segoe UI" panose="020B0502040204020203" pitchFamily="34" charset="0"/>
              </a:rPr>
              <a:t>Low-code data platform for Microsoft Team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a:solidFill>
                  <a:srgbClr val="171717"/>
                </a:solidFill>
                <a:effectLst/>
                <a:latin typeface="Segoe UI" panose="020B0502040204020203" pitchFamily="34" charset="0"/>
              </a:rPr>
              <a:t>Relational data storage, and rich data types</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effectLst/>
              </a:rPr>
              <a:t>Relational</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effectLst/>
              </a:rPr>
              <a:t>File + Image</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effectLst/>
              </a:rPr>
              <a:t>Find, Filter, Sort</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effectLst/>
              </a:rPr>
              <a:t>Basic Datatypes</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a:solidFill>
                  <a:srgbClr val="171717"/>
                </a:solidFill>
                <a:effectLst/>
                <a:latin typeface="Segoe UI" panose="020B0502040204020203" pitchFamily="34" charset="0"/>
              </a:rPr>
              <a:t>Common Data Model (Coming So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a:solidFill>
                  <a:srgbClr val="171717"/>
                </a:solidFill>
                <a:effectLst/>
                <a:latin typeface="Segoe UI" panose="020B0502040204020203" pitchFamily="34" charset="0"/>
              </a:rPr>
              <a:t>Enterprise-grade governance</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a:solidFill>
                  <a:srgbClr val="171717"/>
                </a:solidFill>
                <a:effectLst/>
                <a:latin typeface="Segoe UI" panose="020B0502040204020203" pitchFamily="34" charset="0"/>
              </a:rPr>
              <a:t>Uses Environments (Capacity limits)</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a:solidFill>
                  <a:srgbClr val="171717"/>
                </a:solidFill>
                <a:effectLst/>
                <a:latin typeface="Segoe UI" panose="020B0502040204020203" pitchFamily="34" charset="0"/>
              </a:rPr>
              <a:t>Uses Security (Roles)</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a:solidFill>
                  <a:srgbClr val="171717"/>
                </a:solidFill>
                <a:effectLst/>
                <a:latin typeface="Segoe UI" panose="020B0502040204020203" pitchFamily="34" charset="0"/>
              </a:rPr>
              <a:t>Capacity enforcement (80% warning, 100% No new apps)</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a:solidFill>
                  <a:srgbClr val="171717"/>
                </a:solidFill>
                <a:effectLst/>
                <a:latin typeface="Segoe UI" panose="020B0502040204020203" pitchFamily="34" charset="0"/>
              </a:rPr>
              <a:t>Promote environment to CD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a:solidFill>
                  <a:srgbClr val="171717"/>
                </a:solidFill>
                <a:effectLst/>
                <a:latin typeface="Segoe UI" panose="020B0502040204020203" pitchFamily="34" charset="0"/>
              </a:rPr>
              <a:t>One-click solution deployment (</a:t>
            </a:r>
            <a:r>
              <a:rPr lang="en-US">
                <a:hlinkClick r:id="rId3"/>
              </a:rPr>
              <a:t>https://docs.microsoft.com/en-us/powerapps/teams/use-sample-apps-from-teams-store</a:t>
            </a:r>
            <a:r>
              <a:rPr lang="en-US"/>
              <a:t>)</a:t>
            </a:r>
            <a:endParaRPr lang="en-US" b="0" i="0">
              <a:solidFill>
                <a:srgbClr val="171717"/>
              </a:solidFill>
              <a:effectLst/>
              <a:latin typeface="Segoe UI" panose="020B0502040204020203" pitchFamily="34" charset="0"/>
            </a:endParaRP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u="none" strike="noStrike">
                <a:effectLst/>
                <a:hlinkClick r:id="rId4"/>
              </a:rPr>
              <a:t>Employee ideas</a:t>
            </a:r>
            <a:r>
              <a:rPr lang="en-US" u="none" strike="noStrike">
                <a:effectLst/>
              </a:rPr>
              <a:t> </a:t>
            </a:r>
            <a:r>
              <a:rPr lang="en-US">
                <a:effectLst/>
              </a:rPr>
              <a:t>Manager and employee apps for campaigns and ideas.</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u="none" strike="noStrike">
                <a:effectLst/>
                <a:hlinkClick r:id="rId5"/>
              </a:rPr>
              <a:t>Inspection</a:t>
            </a:r>
            <a:r>
              <a:rPr lang="en-US" u="none" strike="noStrike">
                <a:effectLst/>
              </a:rPr>
              <a:t> </a:t>
            </a:r>
            <a:r>
              <a:rPr lang="en-US">
                <a:effectLst/>
              </a:rPr>
              <a:t>Manager and user apps for area inspections.</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u="none" strike="noStrike">
                <a:effectLst/>
                <a:hlinkClick r:id="rId6"/>
              </a:rPr>
              <a:t>Issue </a:t>
            </a:r>
            <a:r>
              <a:rPr lang="en-US" u="none" strike="noStrike" err="1">
                <a:effectLst/>
                <a:hlinkClick r:id="rId6"/>
              </a:rPr>
              <a:t>reporting</a:t>
            </a:r>
            <a:r>
              <a:rPr lang="en-US" err="1">
                <a:effectLst/>
              </a:rPr>
              <a:t>Manager</a:t>
            </a:r>
            <a:r>
              <a:rPr lang="en-US">
                <a:effectLst/>
              </a:rPr>
              <a:t> and user apps for issue reporting.</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9: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4109194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buFont typeface="Arial" panose="020B0604020202020204" pitchFamily="34" charset="0"/>
              <a:buNone/>
            </a:pPr>
            <a:r>
              <a:rPr lang="en-US" b="1" i="0" dirty="0">
                <a:effectLst/>
                <a:latin typeface="Segoe UI"/>
                <a:cs typeface="Segoe UI"/>
              </a:rPr>
              <a:t>Discuss</a:t>
            </a:r>
          </a:p>
          <a:p>
            <a:pPr marL="171450" lvl="0" indent="-171450">
              <a:buFont typeface="Arial" panose="020B0604020202020204" pitchFamily="34" charset="0"/>
              <a:buChar char="•"/>
            </a:pPr>
            <a:r>
              <a:rPr lang="en-US" b="0" i="0" dirty="0">
                <a:effectLst/>
                <a:latin typeface="Segoe UI"/>
                <a:cs typeface="Segoe UI"/>
              </a:rPr>
              <a:t>Support to build low-code and no-code apps, flows, and chatbots for and within Teams.</a:t>
            </a:r>
          </a:p>
          <a:p>
            <a:pPr marL="171450" lvl="0" indent="-171450">
              <a:buFont typeface="Arial" panose="020B0604020202020204" pitchFamily="34" charset="0"/>
              <a:buChar char="•"/>
            </a:pPr>
            <a:r>
              <a:rPr lang="en-US" b="0" i="0" dirty="0">
                <a:effectLst/>
                <a:latin typeface="Segoe UI"/>
                <a:cs typeface="Segoe UI"/>
              </a:rPr>
              <a:t>Core data capabilities from the same platform behind Microsoft Power Platform and Dynamics 365.</a:t>
            </a:r>
          </a:p>
          <a:p>
            <a:pPr marL="171450" lvl="0" indent="-171450">
              <a:buFont typeface="Arial" panose="020B0604020202020204" pitchFamily="34" charset="0"/>
              <a:buChar char="•"/>
            </a:pPr>
            <a:r>
              <a:rPr lang="en-US" b="0" i="0" dirty="0">
                <a:effectLst/>
                <a:latin typeface="Segoe UI"/>
                <a:cs typeface="Segoe UI"/>
              </a:rPr>
              <a:t>Storage, rich data types with enterprise capabilities, and one-click solution deployment.</a:t>
            </a:r>
          </a:p>
          <a:p>
            <a:pPr marL="171450" lvl="0" indent="-171450">
              <a:buFont typeface="Arial" panose="020B0604020202020204" pitchFamily="34" charset="0"/>
              <a:buChar char="•"/>
            </a:pPr>
            <a:r>
              <a:rPr lang="en-US" b="0" i="0" dirty="0">
                <a:effectLst/>
                <a:latin typeface="Segoe UI"/>
                <a:cs typeface="Segoe UI"/>
              </a:rPr>
              <a:t>A new visual editor that makes it even easier to define and populate table data.</a:t>
            </a:r>
          </a:p>
          <a:p>
            <a:pPr marL="171450" lvl="0" indent="-171450">
              <a:buFont typeface="Arial" panose="020B0604020202020204" pitchFamily="34" charset="0"/>
              <a:buChar char="•"/>
            </a:pPr>
            <a:r>
              <a:rPr lang="en-US" b="0" i="0" dirty="0">
                <a:effectLst/>
                <a:latin typeface="Segoe UI"/>
                <a:cs typeface="Segoe UI"/>
              </a:rPr>
              <a:t>Enterprise security that's easy to use and aligned with the approach used in Teams.</a:t>
            </a:r>
          </a:p>
          <a:p>
            <a:pPr marL="171450" lvl="0" indent="-171450">
              <a:buFont typeface="Arial" panose="020B0604020202020204" pitchFamily="34" charset="0"/>
              <a:buChar char="•"/>
            </a:pPr>
            <a:r>
              <a:rPr lang="en-US" b="0" i="0" dirty="0">
                <a:effectLst/>
                <a:latin typeface="Segoe UI"/>
                <a:cs typeface="Segoe UI"/>
              </a:rPr>
              <a:t>Inclusion in most existing Teams licenses.</a:t>
            </a:r>
            <a:endParaRPr lang="en-US" dirty="0">
              <a:latin typeface="Segoe UI"/>
              <a:cs typeface="Segoe UI"/>
            </a:endParaRPr>
          </a:p>
          <a:p>
            <a:pPr marL="171450" lvl="0" indent="-171450">
              <a:buFont typeface="Arial" panose="020B0604020202020204" pitchFamily="34" charset="0"/>
              <a:buChar char="•"/>
            </a:pPr>
            <a:r>
              <a:rPr lang="en-US" b="0" i="0" dirty="0">
                <a:effectLst/>
                <a:latin typeface="Segoe UI"/>
                <a:cs typeface="Segoe UI"/>
              </a:rPr>
              <a:t>Storage of 2 GB per team, and support for up to 1 million rows.</a:t>
            </a:r>
          </a:p>
          <a:p>
            <a:pPr marL="171450" indent="-171450">
              <a:buFont typeface="Arial" panose="020B0604020202020204" pitchFamily="34" charset="0"/>
              <a:buChar char="•"/>
            </a:pPr>
            <a:r>
              <a:rPr lang="en-US" b="0" i="0" dirty="0">
                <a:effectLst/>
                <a:latin typeface="Segoe UI"/>
                <a:cs typeface="Segoe UI"/>
              </a:rPr>
              <a:t>Support for up to 500 teams</a:t>
            </a:r>
            <a:r>
              <a:rPr lang="en-US" dirty="0">
                <a:latin typeface="Segoe UI"/>
                <a:cs typeface="Segoe UI"/>
              </a:rPr>
              <a:t>. Support for 5 teams plus 1 additional team for every 20 licensed users.</a:t>
            </a:r>
          </a:p>
          <a:p>
            <a:pPr marL="171450" lvl="0" indent="-171450">
              <a:buFont typeface="Arial" panose="020B0604020202020204" pitchFamily="34" charset="0"/>
              <a:buChar char="•"/>
            </a:pPr>
            <a:r>
              <a:rPr lang="en-US" b="0" i="0" dirty="0">
                <a:effectLst/>
                <a:latin typeface="Segoe UI"/>
                <a:cs typeface="Segoe UI"/>
              </a:rPr>
              <a:t>The capability to be promoted to Dataverse.</a:t>
            </a:r>
          </a:p>
          <a:p>
            <a:pPr marL="171450" lvl="0" indent="-171450">
              <a:buFont typeface="Arial" panose="020B0604020202020204" pitchFamily="34" charset="0"/>
              <a:buChar char="•"/>
            </a:pPr>
            <a:endParaRPr lang="en-US" b="0" i="0" dirty="0">
              <a:effectLst/>
              <a:latin typeface="Segoe UI" panose="020B0502040204020203" pitchFamily="34" charset="0"/>
            </a:endParaRPr>
          </a:p>
          <a:p>
            <a:pPr marL="0" lvl="0" indent="0">
              <a:buFont typeface="Arial" panose="020B0604020202020204" pitchFamily="34" charset="0"/>
              <a:buNone/>
            </a:pPr>
            <a:r>
              <a:rPr lang="en-US" b="1" i="0" dirty="0">
                <a:effectLst/>
                <a:latin typeface="Segoe UI"/>
                <a:cs typeface="Segoe UI"/>
              </a:rPr>
              <a:t>Mention</a:t>
            </a:r>
          </a:p>
          <a:p>
            <a:pPr marL="171450" lvl="0" indent="-171450">
              <a:buFont typeface="Arial" panose="020B0604020202020204" pitchFamily="34" charset="0"/>
              <a:buChar char="•"/>
            </a:pPr>
            <a:r>
              <a:rPr lang="en-US" b="0" i="0" dirty="0">
                <a:solidFill>
                  <a:srgbClr val="171717"/>
                </a:solidFill>
                <a:effectLst/>
                <a:latin typeface="Segoe UI"/>
                <a:cs typeface="Segoe UI"/>
              </a:rPr>
              <a:t>Supports Teams Azure AD security group with runtime (JIT) user access and privilege checks.</a:t>
            </a:r>
          </a:p>
          <a:p>
            <a:pPr marL="171450" lvl="0" indent="-171450">
              <a:buFont typeface="Arial" panose="020B0604020202020204" pitchFamily="34" charset="0"/>
              <a:buChar char="•"/>
            </a:pPr>
            <a:r>
              <a:rPr lang="en-US" b="0" i="0" dirty="0">
                <a:solidFill>
                  <a:srgbClr val="171717"/>
                </a:solidFill>
                <a:effectLst/>
                <a:latin typeface="Segoe UI"/>
                <a:cs typeface="Segoe UI"/>
              </a:rPr>
              <a:t>Auto assignment of System Administrator security role to Teams Owners.</a:t>
            </a:r>
          </a:p>
          <a:p>
            <a:pPr marL="171450" lvl="0" indent="-171450">
              <a:buFont typeface="Arial" panose="020B0604020202020204" pitchFamily="34" charset="0"/>
              <a:buChar char="•"/>
            </a:pPr>
            <a:r>
              <a:rPr lang="en-US" b="0" i="0" dirty="0">
                <a:solidFill>
                  <a:srgbClr val="171717"/>
                </a:solidFill>
                <a:effectLst/>
                <a:latin typeface="Segoe UI"/>
                <a:cs typeface="Segoe UI"/>
              </a:rPr>
              <a:t>Ability to assign different security roles to Teams Owners and Members.</a:t>
            </a:r>
          </a:p>
          <a:p>
            <a:pPr marL="171450" lvl="0" indent="-171450">
              <a:buFont typeface="Arial" panose="020B0604020202020204" pitchFamily="34" charset="0"/>
              <a:buChar char="•"/>
            </a:pPr>
            <a:r>
              <a:rPr lang="en-US" b="0" i="0" dirty="0">
                <a:solidFill>
                  <a:srgbClr val="171717"/>
                </a:solidFill>
                <a:effectLst/>
                <a:latin typeface="Segoe UI"/>
                <a:cs typeface="Segoe UI"/>
              </a:rPr>
              <a:t>No security settings management for Business Unit and Teams is required.</a:t>
            </a:r>
          </a:p>
          <a:p>
            <a:pPr marL="0" lvl="0" indent="0">
              <a:buFont typeface="Arial" panose="020B0604020202020204" pitchFamily="34" charset="0"/>
              <a:buNone/>
            </a:pP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9: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4746207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a:t>Discuss</a:t>
            </a:r>
          </a:p>
          <a:p>
            <a:pPr marL="171450" indent="-171450">
              <a:buFont typeface="Arial" panose="020B0604020202020204" pitchFamily="34" charset="0"/>
              <a:buChar char="•"/>
            </a:pPr>
            <a:r>
              <a:rPr lang="en-US"/>
              <a:t>If you require Access from outside of the Team that environment is connected to</a:t>
            </a:r>
          </a:p>
          <a:p>
            <a:pPr marL="171450" indent="-171450">
              <a:buFont typeface="Arial" panose="020B0604020202020204" pitchFamily="34" charset="0"/>
              <a:buChar char="•"/>
            </a:pPr>
            <a:r>
              <a:rPr lang="en-US"/>
              <a:t>Complicated logic or access to API is required</a:t>
            </a:r>
          </a:p>
          <a:p>
            <a:pPr marL="171450" indent="-171450">
              <a:buFont typeface="Arial" panose="020B0604020202020204" pitchFamily="34" charset="0"/>
              <a:buChar char="•"/>
            </a:pPr>
            <a:r>
              <a:rPr lang="en-US"/>
              <a:t>If you require more data then 2GB or over 1 million rows</a:t>
            </a:r>
          </a:p>
          <a:p>
            <a:pPr marL="171450" indent="-171450">
              <a:buFont typeface="Arial" panose="020B0604020202020204" pitchFamily="34" charset="0"/>
              <a:buChar char="•"/>
            </a:pPr>
            <a:r>
              <a:rPr lang="en-US"/>
              <a:t>Exceed the 500 environment limit</a:t>
            </a:r>
          </a:p>
          <a:p>
            <a:pPr marL="0" indent="0">
              <a:buFont typeface="Arial" panose="020B0604020202020204" pitchFamily="34" charset="0"/>
              <a:buNone/>
            </a:pPr>
            <a:endParaRPr lang="en-US"/>
          </a:p>
          <a:p>
            <a:pPr marL="0" indent="0">
              <a:buFont typeface="Arial" panose="020B0604020202020204" pitchFamily="34" charset="0"/>
              <a:buNone/>
            </a:pPr>
            <a:r>
              <a:rPr lang="en-US" b="1"/>
              <a:t>Mention</a:t>
            </a:r>
          </a:p>
          <a:p>
            <a:pPr marL="171450" indent="-171450">
              <a:buFont typeface="Arial" panose="020B0604020202020204" pitchFamily="34" charset="0"/>
              <a:buChar char="•"/>
            </a:pPr>
            <a:r>
              <a:rPr lang="en-US"/>
              <a:t>Other choices include</a:t>
            </a:r>
          </a:p>
          <a:p>
            <a:pPr marL="388712" lvl="1" indent="-171450">
              <a:buFont typeface="Arial" panose="020B0604020202020204" pitchFamily="34" charset="0"/>
              <a:buChar char="•"/>
            </a:pPr>
            <a:r>
              <a:rPr lang="en-US" err="1"/>
              <a:t>Dataverse</a:t>
            </a:r>
            <a:endParaRPr lang="en-US"/>
          </a:p>
          <a:p>
            <a:pPr marL="388712" lvl="1" indent="-171450">
              <a:buFont typeface="Arial" panose="020B0604020202020204" pitchFamily="34" charset="0"/>
              <a:buChar char="•"/>
            </a:pPr>
            <a:r>
              <a:rPr lang="en-US"/>
              <a:t>SP Lis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9: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14449231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r>
              <a:rPr lang="en-US" sz="900" b="1" i="0">
                <a:solidFill>
                  <a:srgbClr val="171717"/>
                </a:solidFill>
                <a:effectLst/>
                <a:latin typeface="Segoe UI" panose="020B0502040204020203" pitchFamily="34" charset="0"/>
              </a:rPr>
              <a:t>Discuss</a:t>
            </a:r>
          </a:p>
          <a:p>
            <a:pPr>
              <a:lnSpc>
                <a:spcPct val="90000"/>
              </a:lnSpc>
              <a:spcAft>
                <a:spcPts val="600"/>
              </a:spcAft>
            </a:pPr>
            <a:r>
              <a:rPr lang="en-US" sz="900" b="0" i="0">
                <a:solidFill>
                  <a:srgbClr val="171717"/>
                </a:solidFill>
                <a:effectLst/>
                <a:latin typeface="Segoe UI" panose="020B0502040204020203" pitchFamily="34" charset="0"/>
              </a:rPr>
              <a:t>The </a:t>
            </a:r>
            <a:r>
              <a:rPr lang="en-US" sz="900" b="0" i="0" err="1">
                <a:solidFill>
                  <a:srgbClr val="171717"/>
                </a:solidFill>
                <a:effectLst/>
                <a:latin typeface="Segoe UI" panose="020B0502040204020203" pitchFamily="34" charset="0"/>
              </a:rPr>
              <a:t>Dataverse</a:t>
            </a:r>
            <a:r>
              <a:rPr lang="en-US" sz="900" b="0" i="0">
                <a:solidFill>
                  <a:srgbClr val="171717"/>
                </a:solidFill>
                <a:effectLst/>
                <a:latin typeface="Segoe UI" panose="020B0502040204020203" pitchFamily="34" charset="0"/>
              </a:rPr>
              <a:t> for Teams environment is automatically created for the selected team when you:</a:t>
            </a:r>
          </a:p>
          <a:p>
            <a:pPr>
              <a:lnSpc>
                <a:spcPct val="90000"/>
              </a:lnSpc>
              <a:spcAft>
                <a:spcPts val="600"/>
              </a:spcAft>
            </a:pPr>
            <a:endParaRPr lang="en-US" sz="900" b="0" i="0">
              <a:solidFill>
                <a:srgbClr val="171717"/>
              </a:solidFill>
              <a:effectLst/>
              <a:latin typeface="Segoe UI" panose="020B0502040204020203" pitchFamily="34" charset="0"/>
            </a:endParaRPr>
          </a:p>
          <a:p>
            <a:pPr>
              <a:lnSpc>
                <a:spcPct val="90000"/>
              </a:lnSpc>
              <a:spcAft>
                <a:spcPts val="600"/>
              </a:spcAft>
            </a:pPr>
            <a:r>
              <a:rPr lang="en-US" sz="900">
                <a:solidFill>
                  <a:srgbClr val="171717"/>
                </a:solidFill>
                <a:latin typeface="Segoe UI" panose="020B0502040204020203" pitchFamily="34" charset="0"/>
              </a:rPr>
              <a:t>1.</a:t>
            </a:r>
            <a:r>
              <a:rPr lang="en-US" sz="900" b="0" i="0">
                <a:solidFill>
                  <a:srgbClr val="171717"/>
                </a:solidFill>
                <a:effectLst/>
                <a:latin typeface="Segoe UI" panose="020B0502040204020203" pitchFamily="34" charset="0"/>
              </a:rPr>
              <a:t> </a:t>
            </a:r>
            <a:r>
              <a:rPr lang="en-US" sz="900" b="0" i="0" u="none" strike="noStrike">
                <a:effectLst/>
                <a:latin typeface="Segoe UI" panose="020B0502040204020203" pitchFamily="34" charset="0"/>
                <a:hlinkClick r:id="rId3"/>
              </a:rPr>
              <a:t>Create an app</a:t>
            </a:r>
            <a:r>
              <a:rPr lang="en-US" sz="900" b="0" i="0">
                <a:solidFill>
                  <a:srgbClr val="171717"/>
                </a:solidFill>
                <a:effectLst/>
                <a:latin typeface="Segoe UI" panose="020B0502040204020203" pitchFamily="34" charset="0"/>
              </a:rPr>
              <a:t> with the new Power Apps app in Teams for the first time</a:t>
            </a:r>
          </a:p>
          <a:p>
            <a:pPr>
              <a:lnSpc>
                <a:spcPct val="90000"/>
              </a:lnSpc>
              <a:spcAft>
                <a:spcPts val="600"/>
              </a:spcAft>
            </a:pPr>
            <a:r>
              <a:rPr lang="en-US" sz="900">
                <a:solidFill>
                  <a:srgbClr val="171717"/>
                </a:solidFill>
                <a:latin typeface="Segoe UI" panose="020B0502040204020203" pitchFamily="34" charset="0"/>
              </a:rPr>
              <a:t>2.</a:t>
            </a:r>
            <a:r>
              <a:rPr lang="en-US" sz="900" b="0" i="0">
                <a:solidFill>
                  <a:srgbClr val="171717"/>
                </a:solidFill>
                <a:effectLst/>
                <a:latin typeface="Segoe UI" panose="020B0502040204020203" pitchFamily="34" charset="0"/>
              </a:rPr>
              <a:t> Install a Power Apps app from the app catalog for the first time.</a:t>
            </a:r>
          </a:p>
          <a:p>
            <a:pPr>
              <a:lnSpc>
                <a:spcPct val="90000"/>
              </a:lnSpc>
              <a:spcAft>
                <a:spcPts val="600"/>
              </a:spcAft>
            </a:pPr>
            <a:endParaRPr lang="en-US" sz="900" b="0" i="0">
              <a:solidFill>
                <a:srgbClr val="171717"/>
              </a:solidFill>
              <a:effectLst/>
              <a:latin typeface="Segoe UI" panose="020B0502040204020203" pitchFamily="34" charset="0"/>
            </a:endParaRPr>
          </a:p>
          <a:p>
            <a:pPr>
              <a:lnSpc>
                <a:spcPct val="90000"/>
              </a:lnSpc>
              <a:spcAft>
                <a:spcPts val="600"/>
              </a:spcAft>
            </a:pPr>
            <a:r>
              <a:rPr lang="en-US" sz="900" b="1" i="0">
                <a:solidFill>
                  <a:srgbClr val="171717"/>
                </a:solidFill>
                <a:effectLst/>
                <a:latin typeface="Segoe UI" panose="020B0502040204020203" pitchFamily="34" charset="0"/>
              </a:rPr>
              <a:t>Mention</a:t>
            </a:r>
          </a:p>
          <a:p>
            <a:pPr>
              <a:lnSpc>
                <a:spcPct val="90000"/>
              </a:lnSpc>
              <a:spcAft>
                <a:spcPts val="600"/>
              </a:spcAft>
            </a:pPr>
            <a:endParaRPr lang="en-US" sz="900" b="0" i="0">
              <a:solidFill>
                <a:srgbClr val="171717"/>
              </a:solidFill>
              <a:effectLst/>
              <a:latin typeface="Segoe UI" panose="020B0502040204020203" pitchFamily="34" charset="0"/>
            </a:endParaRPr>
          </a:p>
          <a:p>
            <a:pPr marL="171450" indent="-171450" algn="l">
              <a:buFont typeface="Arial" panose="020B0604020202020204" pitchFamily="34" charset="0"/>
              <a:buChar char="•"/>
            </a:pPr>
            <a:r>
              <a:rPr lang="en-US" b="0" i="0">
                <a:solidFill>
                  <a:srgbClr val="171717"/>
                </a:solidFill>
                <a:effectLst/>
                <a:latin typeface="Segoe UI" panose="020B0502040204020203" pitchFamily="34" charset="0"/>
              </a:rPr>
              <a:t>Aligns with the core roles identified in the environment: Owners, Members, and Guests</a:t>
            </a:r>
          </a:p>
          <a:p>
            <a:pPr marL="171450" indent="-171450" algn="l">
              <a:buFont typeface="Arial" panose="020B0604020202020204" pitchFamily="34" charset="0"/>
              <a:buChar char="•"/>
            </a:pPr>
            <a:r>
              <a:rPr lang="en-US" b="0" i="0">
                <a:solidFill>
                  <a:srgbClr val="171717"/>
                </a:solidFill>
                <a:effectLst/>
                <a:latin typeface="Segoe UI" panose="020B0502040204020203" pitchFamily="34" charset="0"/>
              </a:rPr>
              <a:t>Access to the environment is restricted just to the Teams owners, members, and guests</a:t>
            </a:r>
          </a:p>
          <a:p>
            <a:pPr marL="171450" indent="-171450" algn="l">
              <a:buFont typeface="Arial" panose="020B0604020202020204" pitchFamily="34" charset="0"/>
              <a:buChar char="•"/>
            </a:pPr>
            <a:r>
              <a:rPr lang="en-US" b="0" i="0">
                <a:solidFill>
                  <a:srgbClr val="171717"/>
                </a:solidFill>
                <a:effectLst/>
                <a:latin typeface="Segoe UI" panose="020B0502040204020203" pitchFamily="34" charset="0"/>
              </a:rPr>
              <a:t>Granting access is managed by Teams Owner by adding or removing members</a:t>
            </a:r>
          </a:p>
          <a:p>
            <a:pPr marL="171450" indent="-171450" algn="l">
              <a:buFont typeface="Arial" panose="020B0604020202020204" pitchFamily="34" charset="0"/>
              <a:buChar char="•"/>
            </a:pPr>
            <a:r>
              <a:rPr lang="en-US" b="0" i="0">
                <a:solidFill>
                  <a:srgbClr val="171717"/>
                </a:solidFill>
                <a:effectLst/>
                <a:latin typeface="Segoe UI" panose="020B0502040204020203" pitchFamily="34" charset="0"/>
              </a:rPr>
              <a:t>Provides support for files, images, and multiple related tables</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9:4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35190201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702" y="2119178"/>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2388" cy="3664099"/>
          </a:xfrm>
          <a:noFill/>
        </p:spPr>
        <p:txBody>
          <a:bodyPr lIns="146304" tIns="91440" rIns="146304" bIns="91440" anchor="t" anchorCtr="0">
            <a:noAutofit/>
          </a:bodyPr>
          <a:lstStyle>
            <a:lvl1pPr>
              <a:defRPr sz="4000" spc="-100" baseline="0">
                <a:gradFill>
                  <a:gsLst>
                    <a:gs pos="57576">
                      <a:srgbClr val="FFFFFF"/>
                    </a:gs>
                    <a:gs pos="35000">
                      <a:srgbClr val="FFFFFF"/>
                    </a:gs>
                  </a:gsLst>
                  <a:lin ang="5400000" scaled="0"/>
                </a:gradFill>
                <a:latin typeface="+mj-lt"/>
              </a:defRPr>
            </a:lvl1pPr>
          </a:lstStyle>
          <a:p>
            <a:r>
              <a:rPr lang="en-US" sz="4000">
                <a:latin typeface="+mj-lt"/>
              </a:rPr>
              <a:t>&lt;&lt;Module Title&gt;&gt;</a:t>
            </a:r>
            <a:endParaRPr lang="en-US"/>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userDrawn="1"/>
        </p:nvSpPr>
        <p:spPr>
          <a:xfrm>
            <a:off x="233184" y="369155"/>
            <a:ext cx="12047835" cy="6081351"/>
          </a:xfrm>
          <a:prstGeom prst="rect">
            <a:avLst/>
          </a:prstGeom>
        </p:spPr>
        <p:txBody>
          <a:bodyPr vert="horz" lIns="93260" tIns="46630" rIns="93260" bIns="46630"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a:solidFill>
                  <a:srgbClr val="000000"/>
                </a:solidFill>
              </a:rPr>
              <a:t>Conditions and Terms of Use</a:t>
            </a:r>
          </a:p>
          <a:p>
            <a:r>
              <a:rPr lang="en-US" sz="1530">
                <a:solidFill>
                  <a:srgbClr val="0A5BBA"/>
                </a:solidFill>
              </a:rPr>
              <a:t>Microsoft Confidential</a:t>
            </a:r>
          </a:p>
          <a:p>
            <a:r>
              <a:rPr lang="en-US" sz="1836">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a:solidFill>
                <a:srgbClr val="000000"/>
              </a:solidFill>
            </a:endParaRPr>
          </a:p>
          <a:p>
            <a:r>
              <a:rPr lang="en-US" sz="2346" b="1">
                <a:solidFill>
                  <a:srgbClr val="000000"/>
                </a:solidFill>
              </a:rPr>
              <a:t>Copyright and Trademarks </a:t>
            </a:r>
          </a:p>
          <a:p>
            <a:r>
              <a:rPr lang="en-US" sz="1530">
                <a:solidFill>
                  <a:srgbClr val="0A5BBA"/>
                </a:solidFill>
              </a:rPr>
              <a:t>© 2016 Microsoft Corporation. All rights reserved.</a:t>
            </a:r>
          </a:p>
          <a:p>
            <a:r>
              <a:rPr lang="en-US" sz="1836">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a:solidFill>
                  <a:srgbClr val="000000"/>
                </a:solidFill>
              </a:rPr>
              <a:t>For more information, see </a:t>
            </a:r>
            <a:r>
              <a:rPr lang="en-US" sz="1836" b="1">
                <a:solidFill>
                  <a:srgbClr val="000000"/>
                </a:solidFill>
              </a:rPr>
              <a:t>Use of Microsoft Copyrighted Content </a:t>
            </a:r>
            <a:r>
              <a:rPr lang="en-US" sz="1836">
                <a:solidFill>
                  <a:srgbClr val="000000"/>
                </a:solidFill>
              </a:rPr>
              <a:t>at</a:t>
            </a:r>
            <a:br>
              <a:rPr lang="en-US" sz="1836">
                <a:solidFill>
                  <a:srgbClr val="000000"/>
                </a:solidFill>
              </a:rPr>
            </a:br>
            <a:r>
              <a:rPr lang="en-US" sz="1836">
                <a:solidFill>
                  <a:srgbClr val="FF0000"/>
                </a:solidFill>
                <a:hlinkClick r:id="rId2"/>
              </a:rPr>
              <a:t>https://www.microsoft.com/en-us/legal/intellectualproperty/permissions/default.aspx</a:t>
            </a:r>
            <a:r>
              <a:rPr lang="en-US" sz="1836">
                <a:solidFill>
                  <a:srgbClr val="FF0000"/>
                </a:solidFill>
              </a:rPr>
              <a:t> </a:t>
            </a:r>
          </a:p>
          <a:p>
            <a:r>
              <a:rPr lang="en-US" sz="1836">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1049294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20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702" y="2119178"/>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320" y="2119177"/>
            <a:ext cx="6402388" cy="3664085"/>
          </a:xfrm>
          <a:noFill/>
        </p:spPr>
        <p:txBody>
          <a:bodyPr lIns="146304" tIns="91440" rIns="146304" bIns="91440" anchor="t" anchorCtr="0">
            <a:noAutofit/>
          </a:bodyPr>
          <a:lstStyle>
            <a:lvl1pPr>
              <a:defRPr sz="4000" spc="-100" baseline="0">
                <a:gradFill>
                  <a:gsLst>
                    <a:gs pos="57576">
                      <a:srgbClr val="FFFFFF"/>
                    </a:gs>
                    <a:gs pos="35000">
                      <a:srgbClr val="FFFFFF"/>
                    </a:gs>
                  </a:gsLst>
                  <a:lin ang="5400000" scaled="0"/>
                </a:gradFill>
                <a:latin typeface="+mj-lt"/>
              </a:defRPr>
            </a:lvl1pPr>
          </a:lstStyle>
          <a:p>
            <a:r>
              <a:rPr lang="en-US" sz="4000">
                <a:latin typeface="+mj-lt"/>
              </a:rPr>
              <a:t>&lt;&lt;Module Title&gt;&gt;</a:t>
            </a:r>
            <a:endParaRPr lang="en-US"/>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1080159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userDrawn="1"/>
        </p:nvSpPr>
        <p:spPr>
          <a:xfrm>
            <a:off x="233184" y="369155"/>
            <a:ext cx="12047835" cy="6081351"/>
          </a:xfrm>
          <a:prstGeom prst="rect">
            <a:avLst/>
          </a:prstGeom>
        </p:spPr>
        <p:txBody>
          <a:bodyPr vert="horz" lIns="93260" tIns="46630" rIns="93260" bIns="46630"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a:solidFill>
                  <a:srgbClr val="000000"/>
                </a:solidFill>
              </a:rPr>
              <a:t>Conditions and Terms of Use</a:t>
            </a:r>
          </a:p>
          <a:p>
            <a:r>
              <a:rPr lang="en-US" sz="1530">
                <a:solidFill>
                  <a:srgbClr val="0A5BBA"/>
                </a:solidFill>
              </a:rPr>
              <a:t>Microsoft Confidential</a:t>
            </a:r>
          </a:p>
          <a:p>
            <a:r>
              <a:rPr lang="en-US" sz="1836">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a:solidFill>
                <a:srgbClr val="000000"/>
              </a:solidFill>
            </a:endParaRPr>
          </a:p>
          <a:p>
            <a:r>
              <a:rPr lang="en-US" sz="2346" b="1">
                <a:solidFill>
                  <a:srgbClr val="000000"/>
                </a:solidFill>
              </a:rPr>
              <a:t>Copyright and Trademarks </a:t>
            </a:r>
          </a:p>
          <a:p>
            <a:r>
              <a:rPr lang="en-US" sz="1530">
                <a:solidFill>
                  <a:srgbClr val="0A5BBA"/>
                </a:solidFill>
              </a:rPr>
              <a:t>© 2016 Microsoft Corporation. All rights reserved.</a:t>
            </a:r>
          </a:p>
          <a:p>
            <a:r>
              <a:rPr lang="en-US" sz="1836">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a:solidFill>
                  <a:srgbClr val="000000"/>
                </a:solidFill>
              </a:rPr>
              <a:t>For more information, see </a:t>
            </a:r>
            <a:r>
              <a:rPr lang="en-US" sz="1836" b="1">
                <a:solidFill>
                  <a:srgbClr val="000000"/>
                </a:solidFill>
              </a:rPr>
              <a:t>Use of Microsoft Copyrighted Content </a:t>
            </a:r>
            <a:r>
              <a:rPr lang="en-US" sz="1836">
                <a:solidFill>
                  <a:srgbClr val="000000"/>
                </a:solidFill>
              </a:rPr>
              <a:t>at</a:t>
            </a:r>
            <a:br>
              <a:rPr lang="en-US" sz="1836">
                <a:solidFill>
                  <a:srgbClr val="000000"/>
                </a:solidFill>
              </a:rPr>
            </a:br>
            <a:r>
              <a:rPr lang="en-US" sz="1836">
                <a:solidFill>
                  <a:srgbClr val="FF0000"/>
                </a:solidFill>
                <a:hlinkClick r:id="rId2"/>
              </a:rPr>
              <a:t>https://www.microsoft.com/en-us/legal/intellectualproperty/permissions/default.aspx</a:t>
            </a:r>
            <a:r>
              <a:rPr lang="en-US" sz="1836">
                <a:solidFill>
                  <a:srgbClr val="FF0000"/>
                </a:solidFill>
              </a:rPr>
              <a:t> </a:t>
            </a:r>
          </a:p>
          <a:p>
            <a:r>
              <a:rPr lang="en-US" sz="1836">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4063161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ow to view this Presenta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866A743-B49D-4CCF-94F3-42450F822BF0}"/>
              </a:ext>
            </a:extLst>
          </p:cNvPr>
          <p:cNvSpPr/>
          <p:nvPr userDrawn="1"/>
        </p:nvSpPr>
        <p:spPr>
          <a:xfrm>
            <a:off x="274639" y="1213876"/>
            <a:ext cx="11889564" cy="4247317"/>
          </a:xfrm>
          <a:prstGeom prst="rect">
            <a:avLst/>
          </a:prstGeom>
        </p:spPr>
        <p:txBody>
          <a:bodyPr wrap="square" lIns="146304" tIns="91440" rIns="146304" bIns="91440">
            <a:spAutoFit/>
          </a:bodyPr>
          <a:lstStyle/>
          <a:p>
            <a:pPr lvl="0"/>
            <a:r>
              <a:rPr lang="en-US" sz="2400"/>
              <a:t>To switch to </a:t>
            </a:r>
            <a:r>
              <a:rPr lang="en-US" sz="2400" b="1"/>
              <a:t>Notes Page </a:t>
            </a:r>
            <a:r>
              <a:rPr lang="en-US" sz="2400"/>
              <a:t>view:</a:t>
            </a:r>
          </a:p>
          <a:p>
            <a:pPr lvl="1"/>
            <a:r>
              <a:rPr lang="en-US" sz="2400"/>
              <a:t>On the ribbon, click the </a:t>
            </a:r>
            <a:r>
              <a:rPr lang="en-US" sz="2400" b="1"/>
              <a:t>View</a:t>
            </a:r>
            <a:r>
              <a:rPr lang="en-US" sz="2400"/>
              <a:t> tab, and then click </a:t>
            </a:r>
            <a:r>
              <a:rPr lang="en-US" sz="2400" b="1"/>
              <a:t>Notes Page</a:t>
            </a:r>
          </a:p>
          <a:p>
            <a:pPr lvl="0"/>
            <a:endParaRPr lang="en-US" sz="2400"/>
          </a:p>
          <a:p>
            <a:pPr lvl="0"/>
            <a:r>
              <a:rPr lang="en-US" sz="2400"/>
              <a:t>To navigate through notes, use the </a:t>
            </a:r>
            <a:r>
              <a:rPr lang="en-US" sz="2400" b="1"/>
              <a:t>Page Up </a:t>
            </a:r>
            <a:r>
              <a:rPr lang="en-US" sz="2400"/>
              <a:t>and </a:t>
            </a:r>
            <a:r>
              <a:rPr lang="en-US" sz="2400" b="1"/>
              <a:t>Page Down </a:t>
            </a:r>
            <a:r>
              <a:rPr lang="en-US" sz="2400"/>
              <a:t>keys</a:t>
            </a:r>
          </a:p>
          <a:p>
            <a:pPr lvl="1"/>
            <a:r>
              <a:rPr lang="en-US" sz="2400"/>
              <a:t>Zoom in or zoom out, if required</a:t>
            </a:r>
          </a:p>
          <a:p>
            <a:pPr lvl="0"/>
            <a:endParaRPr lang="en-US" sz="2400"/>
          </a:p>
          <a:p>
            <a:pPr lvl="0"/>
            <a:r>
              <a:rPr lang="en-US" sz="2400"/>
              <a:t>In the </a:t>
            </a:r>
            <a:r>
              <a:rPr lang="en-US" sz="2400" b="1"/>
              <a:t>Notes Page </a:t>
            </a:r>
            <a:r>
              <a:rPr lang="en-US" sz="2400"/>
              <a:t>view, you can:</a:t>
            </a:r>
          </a:p>
          <a:p>
            <a:pPr lvl="1"/>
            <a:r>
              <a:rPr lang="en-US" sz="2400"/>
              <a:t>Read any supporting text—now or after the delivery</a:t>
            </a:r>
          </a:p>
          <a:p>
            <a:pPr lvl="1"/>
            <a:r>
              <a:rPr lang="en-US" sz="2400"/>
              <a:t>Add notes to your copy of the presentation, if required</a:t>
            </a:r>
          </a:p>
          <a:p>
            <a:pPr lvl="0"/>
            <a:endParaRPr lang="en-US" sz="2400"/>
          </a:p>
          <a:p>
            <a:pPr lvl="0"/>
            <a:r>
              <a:rPr lang="en-US" sz="2400"/>
              <a:t>Take the presentation files home with you</a:t>
            </a:r>
          </a:p>
        </p:txBody>
      </p:sp>
      <p:sp>
        <p:nvSpPr>
          <p:cNvPr id="5" name="Rectangle 4">
            <a:extLst>
              <a:ext uri="{FF2B5EF4-FFF2-40B4-BE49-F238E27FC236}">
                <a16:creationId xmlns:a16="http://schemas.microsoft.com/office/drawing/2014/main" id="{32C605F4-CFC7-4BE5-832B-80BBA5066247}"/>
              </a:ext>
            </a:extLst>
          </p:cNvPr>
          <p:cNvSpPr/>
          <p:nvPr userDrawn="1"/>
        </p:nvSpPr>
        <p:spPr>
          <a:xfrm>
            <a:off x="274638" y="294246"/>
            <a:ext cx="11887198" cy="923330"/>
          </a:xfrm>
          <a:prstGeom prst="rect">
            <a:avLst/>
          </a:prstGeom>
        </p:spPr>
        <p:txBody>
          <a:bodyPr wrap="square" lIns="146304" tIns="91440" rIns="146304" bIns="91440">
            <a:noAutofit/>
          </a:bodyPr>
          <a:lstStyle/>
          <a:p>
            <a:r>
              <a:rPr lang="en-US" sz="4800">
                <a:solidFill>
                  <a:schemeClr val="accent3"/>
                </a:solidFill>
                <a:latin typeface="+mj-lt"/>
              </a:rPr>
              <a:t>How to View This Presentation</a:t>
            </a:r>
          </a:p>
        </p:txBody>
      </p:sp>
    </p:spTree>
    <p:extLst>
      <p:ext uri="{BB962C8B-B14F-4D97-AF65-F5344CB8AC3E}">
        <p14:creationId xmlns:p14="http://schemas.microsoft.com/office/powerpoint/2010/main" val="64383208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EB10EA7-4705-4753-B9B2-5A545797BA7E}"/>
              </a:ext>
            </a:extLst>
          </p:cNvPr>
          <p:cNvSpPr/>
          <p:nvPr userDrawn="1"/>
        </p:nvSpPr>
        <p:spPr>
          <a:xfrm>
            <a:off x="274638" y="295274"/>
            <a:ext cx="11887196" cy="914400"/>
          </a:xfrm>
          <a:prstGeom prst="rect">
            <a:avLst/>
          </a:prstGeom>
        </p:spPr>
        <p:txBody>
          <a:bodyPr wrap="square" lIns="146304" tIns="91440" rIns="146304" bIns="91440">
            <a:noAutofit/>
          </a:bodyPr>
          <a:lstStyle/>
          <a:p>
            <a:pPr marL="53975" indent="0"/>
            <a:r>
              <a:rPr lang="en-US" sz="4800" baseline="0">
                <a:solidFill>
                  <a:schemeClr val="accent3"/>
                </a:solidFill>
                <a:latin typeface="+mj-lt"/>
              </a:rPr>
              <a:t>Module Overview</a:t>
            </a:r>
          </a:p>
        </p:txBody>
      </p:sp>
      <p:sp>
        <p:nvSpPr>
          <p:cNvPr id="7" name="Text Placeholder 4">
            <a:extLst>
              <a:ext uri="{FF2B5EF4-FFF2-40B4-BE49-F238E27FC236}">
                <a16:creationId xmlns:a16="http://schemas.microsoft.com/office/drawing/2014/main" id="{781BB40F-20AD-43CC-9A94-AC3AEDDE6D99}"/>
              </a:ext>
            </a:extLst>
          </p:cNvPr>
          <p:cNvSpPr>
            <a:spLocks noGrp="1"/>
          </p:cNvSpPr>
          <p:nvPr>
            <p:ph type="body" sz="quarter" idx="10" hasCustomPrompt="1"/>
          </p:nvPr>
        </p:nvSpPr>
        <p:spPr>
          <a:xfrm>
            <a:off x="274638" y="1211255"/>
            <a:ext cx="11887200" cy="5487988"/>
          </a:xfrm>
        </p:spPr>
        <p:txBody>
          <a:bodyPr/>
          <a:lstStyle>
            <a:lvl1pPr>
              <a:defRPr/>
            </a:lvl1pPr>
            <a:lvl2pPr>
              <a:defRPr/>
            </a:lvl2pPr>
          </a:lstStyle>
          <a:p>
            <a:pPr lvl="0"/>
            <a:r>
              <a:rPr lang="en-US"/>
              <a:t>&lt;&lt;Lesson 1: Title&gt;&gt;</a:t>
            </a:r>
            <a:br>
              <a:rPr lang="en-US"/>
            </a:br>
            <a:r>
              <a:rPr lang="en-US"/>
              <a:t> &lt;&lt;Lesson 2: Title&gt;&gt;</a:t>
            </a:r>
          </a:p>
        </p:txBody>
      </p:sp>
    </p:spTree>
    <p:extLst>
      <p:ext uri="{BB962C8B-B14F-4D97-AF65-F5344CB8AC3E}">
        <p14:creationId xmlns:p14="http://schemas.microsoft.com/office/powerpoint/2010/main" val="16424375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esson overview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74638" y="295273"/>
            <a:ext cx="11887200" cy="914400"/>
          </a:xfrm>
        </p:spPr>
        <p:txBody>
          <a:bodyPr/>
          <a:lstStyle>
            <a:lvl1pPr>
              <a:defRPr/>
            </a:lvl1pPr>
          </a:lstStyle>
          <a:p>
            <a:r>
              <a:rPr lang="en-US"/>
              <a:t>Lesson #: &lt;&lt;Insert Title&gt;&gt;</a:t>
            </a:r>
          </a:p>
        </p:txBody>
      </p:sp>
      <p:sp>
        <p:nvSpPr>
          <p:cNvPr id="5" name="Text Placeholder 4">
            <a:extLst>
              <a:ext uri="{FF2B5EF4-FFF2-40B4-BE49-F238E27FC236}">
                <a16:creationId xmlns:a16="http://schemas.microsoft.com/office/drawing/2014/main" id="{023B8C45-121E-4A34-80C4-59192415431B}"/>
              </a:ext>
            </a:extLst>
          </p:cNvPr>
          <p:cNvSpPr>
            <a:spLocks noGrp="1"/>
          </p:cNvSpPr>
          <p:nvPr>
            <p:ph type="body" sz="quarter" idx="11" hasCustomPrompt="1"/>
          </p:nvPr>
        </p:nvSpPr>
        <p:spPr>
          <a:xfrm>
            <a:off x="272272" y="1211263"/>
            <a:ext cx="11887200" cy="683264"/>
          </a:xfrm>
        </p:spPr>
        <p:txBody>
          <a:bodyPr/>
          <a:lstStyle>
            <a:lvl1pPr>
              <a:defRPr/>
            </a:lvl1pPr>
            <a:lvl2pPr>
              <a:defRPr/>
            </a:lvl2pPr>
          </a:lstStyle>
          <a:p>
            <a:pPr lvl="0"/>
            <a:r>
              <a:rPr lang="en-US"/>
              <a:t>&lt;&lt;overview&gt;&gt;</a:t>
            </a:r>
          </a:p>
        </p:txBody>
      </p:sp>
    </p:spTree>
    <p:extLst>
      <p:ext uri="{BB962C8B-B14F-4D97-AF65-F5344CB8AC3E}">
        <p14:creationId xmlns:p14="http://schemas.microsoft.com/office/powerpoint/2010/main" val="307137757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esson content V1 slid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lvl1pPr>
          </a:lstStyle>
          <a:p>
            <a:r>
              <a:rPr lang="en-US"/>
              <a:t>&lt;&lt;Topic&gt;&gt;</a:t>
            </a:r>
          </a:p>
        </p:txBody>
      </p:sp>
      <p:sp>
        <p:nvSpPr>
          <p:cNvPr id="3" name="Content Placeholder 2">
            <a:extLst>
              <a:ext uri="{FF2B5EF4-FFF2-40B4-BE49-F238E27FC236}">
                <a16:creationId xmlns:a16="http://schemas.microsoft.com/office/drawing/2014/main" id="{61BEADB5-993B-439C-91A9-F207CC6154E8}"/>
              </a:ext>
            </a:extLst>
          </p:cNvPr>
          <p:cNvSpPr>
            <a:spLocks noGrp="1"/>
          </p:cNvSpPr>
          <p:nvPr>
            <p:ph sz="quarter" idx="11" hasCustomPrompt="1"/>
          </p:nvPr>
        </p:nvSpPr>
        <p:spPr>
          <a:xfrm>
            <a:off x="274638" y="1216152"/>
            <a:ext cx="11888787" cy="5486400"/>
          </a:xfrm>
        </p:spPr>
        <p:txBody>
          <a:bodyPr/>
          <a:lstStyle>
            <a:lvl1pPr marL="0" indent="0">
              <a:buNone/>
              <a:defRPr/>
            </a:lvl1pPr>
          </a:lstStyle>
          <a:p>
            <a:pPr lvl="0"/>
            <a:r>
              <a:rPr lang="en-US"/>
              <a:t>&lt;&lt;add content/details/charts/</a:t>
            </a:r>
            <a:r>
              <a:rPr lang="en-US" err="1"/>
              <a:t>smartart</a:t>
            </a:r>
            <a:r>
              <a:rPr lang="en-US"/>
              <a:t>/images/bullets as needed&gt;&gt;</a:t>
            </a:r>
            <a:br>
              <a:rPr lang="en-US"/>
            </a:br>
            <a:br>
              <a:rPr lang="en-US"/>
            </a:br>
            <a:br>
              <a:rPr lang="en-US"/>
            </a:br>
            <a:br>
              <a:rPr lang="en-US"/>
            </a:br>
            <a:endParaRPr lang="en-US"/>
          </a:p>
        </p:txBody>
      </p:sp>
    </p:spTree>
    <p:extLst>
      <p:ext uri="{BB962C8B-B14F-4D97-AF65-F5344CB8AC3E}">
        <p14:creationId xmlns:p14="http://schemas.microsoft.com/office/powerpoint/2010/main" val="104934496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esson content V2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11887200" cy="5486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33100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esson content V3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5943599" cy="5486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4C4CCE46-6C48-4C12-BA5E-A467C5ACBEEF}"/>
              </a:ext>
            </a:extLst>
          </p:cNvPr>
          <p:cNvSpPr>
            <a:spLocks noGrp="1"/>
          </p:cNvSpPr>
          <p:nvPr>
            <p:ph type="pic" sz="quarter" idx="11" hasCustomPrompt="1"/>
          </p:nvPr>
        </p:nvSpPr>
        <p:spPr>
          <a:xfrm>
            <a:off x="6217920" y="1212850"/>
            <a:ext cx="5943601" cy="5486400"/>
          </a:xfrm>
        </p:spPr>
        <p:txBody>
          <a:bodyPr/>
          <a:lstStyle>
            <a:lvl1pPr>
              <a:defRPr/>
            </a:lvl1pPr>
          </a:lstStyle>
          <a:p>
            <a:r>
              <a:rPr lang="en-US"/>
              <a:t>&lt;&lt;picture of topic&gt;&gt;</a:t>
            </a:r>
          </a:p>
        </p:txBody>
      </p:sp>
    </p:spTree>
    <p:extLst>
      <p:ext uri="{BB962C8B-B14F-4D97-AF65-F5344CB8AC3E}">
        <p14:creationId xmlns:p14="http://schemas.microsoft.com/office/powerpoint/2010/main" val="299763435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sson content V4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11887200" cy="2743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4C4CCE46-6C48-4C12-BA5E-A467C5ACBEEF}"/>
              </a:ext>
            </a:extLst>
          </p:cNvPr>
          <p:cNvSpPr>
            <a:spLocks noGrp="1"/>
          </p:cNvSpPr>
          <p:nvPr>
            <p:ph type="pic" sz="quarter" idx="11" hasCustomPrompt="1"/>
          </p:nvPr>
        </p:nvSpPr>
        <p:spPr>
          <a:xfrm>
            <a:off x="272274" y="3956048"/>
            <a:ext cx="11889564" cy="2743199"/>
          </a:xfrm>
        </p:spPr>
        <p:txBody>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a:lvl1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lt;&lt;picture of topic&gt;&gt;</a:t>
            </a:r>
          </a:p>
          <a:p>
            <a:endParaRPr lang="en-US"/>
          </a:p>
        </p:txBody>
      </p:sp>
    </p:spTree>
    <p:extLst>
      <p:ext uri="{BB962C8B-B14F-4D97-AF65-F5344CB8AC3E}">
        <p14:creationId xmlns:p14="http://schemas.microsoft.com/office/powerpoint/2010/main" val="315659544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esson content V5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a:t>&lt;&lt;topic&gt;&gt;</a:t>
            </a:r>
          </a:p>
        </p:txBody>
      </p:sp>
      <p:sp>
        <p:nvSpPr>
          <p:cNvPr id="5" name="Picture Placeholder 4">
            <a:extLst>
              <a:ext uri="{FF2B5EF4-FFF2-40B4-BE49-F238E27FC236}">
                <a16:creationId xmlns:a16="http://schemas.microsoft.com/office/drawing/2014/main" id="{4C4CCE46-6C48-4C12-BA5E-A467C5ACBEEF}"/>
              </a:ext>
            </a:extLst>
          </p:cNvPr>
          <p:cNvSpPr>
            <a:spLocks noGrp="1"/>
          </p:cNvSpPr>
          <p:nvPr>
            <p:ph type="pic" sz="quarter" idx="11" hasCustomPrompt="1"/>
          </p:nvPr>
        </p:nvSpPr>
        <p:spPr>
          <a:xfrm>
            <a:off x="6218236" y="1212850"/>
            <a:ext cx="5943601" cy="5486398"/>
          </a:xfrm>
        </p:spPr>
        <p:txBody>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a:lvl1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lt;&lt;picture of topic&gt;&gt;</a:t>
            </a:r>
          </a:p>
          <a:p>
            <a:endParaRPr lang="en-US"/>
          </a:p>
        </p:txBody>
      </p:sp>
      <p:sp>
        <p:nvSpPr>
          <p:cNvPr id="6" name="Picture Placeholder 4">
            <a:extLst>
              <a:ext uri="{FF2B5EF4-FFF2-40B4-BE49-F238E27FC236}">
                <a16:creationId xmlns:a16="http://schemas.microsoft.com/office/drawing/2014/main" id="{C55733C9-C8F1-446E-9461-A87538003DB5}"/>
              </a:ext>
            </a:extLst>
          </p:cNvPr>
          <p:cNvSpPr>
            <a:spLocks noGrp="1"/>
          </p:cNvSpPr>
          <p:nvPr>
            <p:ph type="pic" sz="quarter" idx="12" hasCustomPrompt="1"/>
          </p:nvPr>
        </p:nvSpPr>
        <p:spPr>
          <a:xfrm>
            <a:off x="272269" y="1230954"/>
            <a:ext cx="5943601" cy="5486398"/>
          </a:xfrm>
        </p:spPr>
        <p:txBody>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a:lvl1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lt;&lt;picture of topic&gt;&gt;</a:t>
            </a:r>
          </a:p>
          <a:p>
            <a:endParaRPr lang="en-US"/>
          </a:p>
        </p:txBody>
      </p:sp>
    </p:spTree>
    <p:extLst>
      <p:ext uri="{BB962C8B-B14F-4D97-AF65-F5344CB8AC3E}">
        <p14:creationId xmlns:p14="http://schemas.microsoft.com/office/powerpoint/2010/main" val="199839484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s Slid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331719" y="292607"/>
            <a:ext cx="3429320" cy="914400"/>
          </a:xfrm>
        </p:spPr>
        <p:txBody>
          <a:bodyPr>
            <a:spAutoFit/>
          </a:bodyPr>
          <a:lstStyle>
            <a:lvl1pPr>
              <a:defRPr/>
            </a:lvl1pPr>
          </a:lstStyle>
          <a:p>
            <a:r>
              <a:rPr lang="en-US"/>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7"/>
            <a:ext cx="2057399" cy="923330"/>
          </a:xfrm>
          <a:prstGeom prst="rect">
            <a:avLst/>
          </a:prstGeom>
        </p:spPr>
        <p:txBody>
          <a:bodyPr wrap="square" lIns="146304" tIns="91440" rIns="146304" bIns="91440">
            <a:spAutoFit/>
          </a:bodyPr>
          <a:lstStyle/>
          <a:p>
            <a:pPr lvl="0"/>
            <a:r>
              <a:rPr lang="en-US" sz="4800">
                <a:latin typeface="+mj-lt"/>
              </a:rPr>
              <a:t>Demo:</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320" y="3017520"/>
            <a:ext cx="5486400" cy="27432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dirty="0">
                <a:latin typeface="+mn-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505050"/>
                </a:solidFill>
                <a:effectLst/>
                <a:uLnTx/>
                <a:uFillTx/>
                <a:latin typeface="+mj-lt"/>
                <a:ea typeface="+mn-ea"/>
                <a:cs typeface="+mn-cs"/>
              </a:rPr>
              <a:t>&lt;&lt; Add description of the demo&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a:p>
        </p:txBody>
      </p:sp>
      <p:pic>
        <p:nvPicPr>
          <p:cNvPr id="7" name="Picture Placeholder 3">
            <a:extLst>
              <a:ext uri="{FF2B5EF4-FFF2-40B4-BE49-F238E27FC236}">
                <a16:creationId xmlns:a16="http://schemas.microsoft.com/office/drawing/2014/main" id="{C8AB17EB-AA1A-4C6B-AC50-9B86962C2A42}"/>
              </a:ext>
            </a:extLst>
          </p:cNvPr>
          <p:cNvPicPr>
            <a:picLocks noChangeAspect="1"/>
          </p:cNvPicPr>
          <p:nvPr userDrawn="1"/>
        </p:nvPicPr>
        <p:blipFill>
          <a:blip r:embed="rId2"/>
          <a:srcRect l="20120" r="20120"/>
          <a:stretch>
            <a:fillRect/>
          </a:stretch>
        </p:blipFill>
        <p:spPr>
          <a:xfrm>
            <a:off x="6219825" y="0"/>
            <a:ext cx="6216650" cy="6992587"/>
          </a:xfrm>
          <a:prstGeom prst="rect">
            <a:avLst/>
          </a:prstGeom>
        </p:spPr>
      </p:pic>
    </p:spTree>
    <p:extLst>
      <p:ext uri="{BB962C8B-B14F-4D97-AF65-F5344CB8AC3E}">
        <p14:creationId xmlns:p14="http://schemas.microsoft.com/office/powerpoint/2010/main" val="139871580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s Slide V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74319" y="1237045"/>
            <a:ext cx="5486400" cy="849463"/>
          </a:xfrm>
        </p:spPr>
        <p:txBody>
          <a:bodyPr wrap="square">
            <a:spAutoFit/>
          </a:bodyPr>
          <a:lstStyle>
            <a:lvl1pPr>
              <a:defRPr/>
            </a:lvl1pPr>
          </a:lstStyle>
          <a:p>
            <a:r>
              <a:rPr lang="en-US"/>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7"/>
            <a:ext cx="2057399" cy="923330"/>
          </a:xfrm>
          <a:prstGeom prst="rect">
            <a:avLst/>
          </a:prstGeom>
        </p:spPr>
        <p:txBody>
          <a:bodyPr wrap="square" lIns="146304" tIns="91440" rIns="146304" bIns="91440">
            <a:spAutoFit/>
          </a:bodyPr>
          <a:lstStyle/>
          <a:p>
            <a:pPr lvl="0"/>
            <a:r>
              <a:rPr lang="en-US" sz="4800">
                <a:latin typeface="+mj-lt"/>
              </a:rPr>
              <a:t>Demo:</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320" y="3017520"/>
            <a:ext cx="5486400" cy="27432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dirty="0">
                <a:latin typeface="+mn-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505050"/>
                </a:solidFill>
                <a:effectLst/>
                <a:uLnTx/>
                <a:uFillTx/>
                <a:latin typeface="+mj-lt"/>
                <a:ea typeface="+mn-ea"/>
                <a:cs typeface="+mn-cs"/>
              </a:rPr>
              <a:t>&lt;&lt; Add description of the demo&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a:p>
        </p:txBody>
      </p:sp>
      <p:pic>
        <p:nvPicPr>
          <p:cNvPr id="7" name="Picture Placeholder 3">
            <a:extLst>
              <a:ext uri="{FF2B5EF4-FFF2-40B4-BE49-F238E27FC236}">
                <a16:creationId xmlns:a16="http://schemas.microsoft.com/office/drawing/2014/main" id="{C8AB17EB-AA1A-4C6B-AC50-9B86962C2A42}"/>
              </a:ext>
            </a:extLst>
          </p:cNvPr>
          <p:cNvPicPr>
            <a:picLocks noChangeAspect="1"/>
          </p:cNvPicPr>
          <p:nvPr userDrawn="1"/>
        </p:nvPicPr>
        <p:blipFill>
          <a:blip r:embed="rId2"/>
          <a:srcRect l="20120" r="20120"/>
          <a:stretch>
            <a:fillRect/>
          </a:stretch>
        </p:blipFill>
        <p:spPr>
          <a:xfrm>
            <a:off x="6219825" y="0"/>
            <a:ext cx="6216650" cy="6992587"/>
          </a:xfrm>
          <a:prstGeom prst="rect">
            <a:avLst/>
          </a:prstGeom>
        </p:spPr>
      </p:pic>
    </p:spTree>
    <p:extLst>
      <p:ext uri="{BB962C8B-B14F-4D97-AF65-F5344CB8AC3E}">
        <p14:creationId xmlns:p14="http://schemas.microsoft.com/office/powerpoint/2010/main" val="103821914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ab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7A5DF2-09AC-47AD-B8C0-1CC44D475AE3}"/>
              </a:ext>
            </a:extLst>
          </p:cNvPr>
          <p:cNvPicPr>
            <a:picLocks noChangeAspect="1"/>
          </p:cNvPicPr>
          <p:nvPr userDrawn="1"/>
        </p:nvPicPr>
        <p:blipFill>
          <a:blip r:embed="rId2"/>
          <a:stretch>
            <a:fillRect/>
          </a:stretch>
        </p:blipFill>
        <p:spPr>
          <a:xfrm>
            <a:off x="6218237" y="1807"/>
            <a:ext cx="6218459" cy="6992718"/>
          </a:xfrm>
          <a:prstGeom prst="rect">
            <a:avLst/>
          </a:prstGeom>
        </p:spPr>
      </p:pic>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1646236" y="292607"/>
            <a:ext cx="4114802" cy="914400"/>
          </a:xfrm>
        </p:spPr>
        <p:txBody>
          <a:bodyPr>
            <a:spAutoFit/>
          </a:bodyPr>
          <a:lstStyle>
            <a:lvl1pPr>
              <a:defRPr/>
            </a:lvl1pPr>
          </a:lstStyle>
          <a:p>
            <a:r>
              <a:rPr lang="en-US"/>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8"/>
            <a:ext cx="1371917" cy="914400"/>
          </a:xfrm>
          <a:prstGeom prst="rect">
            <a:avLst/>
          </a:prstGeom>
        </p:spPr>
        <p:txBody>
          <a:bodyPr wrap="square" lIns="146304" tIns="91440" rIns="146304" bIns="91440">
            <a:spAutoFit/>
          </a:bodyPr>
          <a:lstStyle/>
          <a:p>
            <a:pPr lvl="0"/>
            <a:r>
              <a:rPr lang="en-US" sz="4800">
                <a:latin typeface="+mj-lt"/>
              </a:rPr>
              <a:t>Lab:</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637" y="3017520"/>
            <a:ext cx="5486401" cy="36576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b="1" i="0" baseline="0" dirty="0">
                <a:latin typeface="+mj-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505050"/>
                </a:solidFill>
                <a:effectLst/>
                <a:uLnTx/>
                <a:uFillTx/>
                <a:latin typeface="+mj-lt"/>
                <a:ea typeface="+mn-ea"/>
                <a:cs typeface="+mn-cs"/>
              </a:rPr>
              <a:t>&lt;&lt; Add Lab Exercises </a:t>
            </a:r>
            <a:br>
              <a:rPr kumimoji="0" lang="en-US" sz="3200" b="0" i="0" u="none" strike="noStrike" kern="1200" cap="none" spc="0" normalizeH="0" baseline="0" noProof="0">
                <a:ln>
                  <a:noFill/>
                </a:ln>
                <a:solidFill>
                  <a:srgbClr val="505050"/>
                </a:solidFill>
                <a:effectLst/>
                <a:uLnTx/>
                <a:uFillTx/>
                <a:latin typeface="+mj-lt"/>
                <a:ea typeface="+mn-ea"/>
                <a:cs typeface="+mn-cs"/>
              </a:rPr>
            </a:br>
            <a:r>
              <a:rPr kumimoji="0" lang="en-US" sz="3200" b="0" i="0" u="none" strike="noStrike" kern="1200" cap="none" spc="0" normalizeH="0" baseline="0" noProof="0">
                <a:ln>
                  <a:noFill/>
                </a:ln>
                <a:solidFill>
                  <a:srgbClr val="505050"/>
                </a:solidFill>
                <a:effectLst/>
                <a:uLnTx/>
                <a:uFillTx/>
                <a:latin typeface="+mj-lt"/>
                <a:ea typeface="+mn-ea"/>
                <a:cs typeface="+mn-cs"/>
              </a:rPr>
              <a:t>Exercise 1: Description</a:t>
            </a:r>
            <a:br>
              <a:rPr kumimoji="0" lang="en-US" sz="3200" b="0" i="0" u="none" strike="noStrike" kern="1200" cap="none" spc="0" normalizeH="0" baseline="0" noProof="0">
                <a:ln>
                  <a:noFill/>
                </a:ln>
                <a:solidFill>
                  <a:srgbClr val="505050"/>
                </a:solidFill>
                <a:effectLst/>
                <a:uLnTx/>
                <a:uFillTx/>
                <a:latin typeface="+mj-lt"/>
                <a:ea typeface="+mn-ea"/>
                <a:cs typeface="+mn-cs"/>
              </a:rPr>
            </a:br>
            <a:r>
              <a:rPr kumimoji="0" lang="en-US" sz="3200" b="0" i="0" u="none" strike="noStrike" kern="1200" cap="none" spc="0" normalizeH="0" baseline="0" noProof="0">
                <a:ln>
                  <a:noFill/>
                </a:ln>
                <a:solidFill>
                  <a:srgbClr val="505050"/>
                </a:solidFill>
                <a:effectLst/>
                <a:uLnTx/>
                <a:uFillTx/>
                <a:latin typeface="+mj-lt"/>
                <a:ea typeface="+mn-ea"/>
                <a:cs typeface="+mn-cs"/>
              </a:rPr>
              <a:t>Exercise 2: Description</a:t>
            </a:r>
            <a:br>
              <a:rPr kumimoji="0" lang="en-US" sz="3200" b="0" i="0" u="none" strike="noStrike" kern="1200" cap="none" spc="0" normalizeH="0" baseline="0" noProof="0">
                <a:ln>
                  <a:noFill/>
                </a:ln>
                <a:solidFill>
                  <a:srgbClr val="505050"/>
                </a:solidFill>
                <a:effectLst/>
                <a:uLnTx/>
                <a:uFillTx/>
                <a:latin typeface="+mj-lt"/>
                <a:ea typeface="+mn-ea"/>
                <a:cs typeface="+mn-cs"/>
              </a:rPr>
            </a:br>
            <a:r>
              <a:rPr kumimoji="0" lang="en-US" sz="3200" b="0" i="0" u="none" strike="noStrike" kern="1200" cap="none" spc="0" normalizeH="0" baseline="0" noProof="0">
                <a:ln>
                  <a:noFill/>
                </a:ln>
                <a:solidFill>
                  <a:srgbClr val="505050"/>
                </a:solidFill>
                <a:effectLst/>
                <a:uLnTx/>
                <a:uFillTx/>
                <a:latin typeface="+mj-lt"/>
                <a:ea typeface="+mn-ea"/>
                <a:cs typeface="+mn-cs"/>
              </a:rPr>
              <a:t>&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a:p>
        </p:txBody>
      </p:sp>
    </p:spTree>
    <p:extLst>
      <p:ext uri="{BB962C8B-B14F-4D97-AF65-F5344CB8AC3E}">
        <p14:creationId xmlns:p14="http://schemas.microsoft.com/office/powerpoint/2010/main" val="89644882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b Slide V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7A5DF2-09AC-47AD-B8C0-1CC44D475AE3}"/>
              </a:ext>
            </a:extLst>
          </p:cNvPr>
          <p:cNvPicPr>
            <a:picLocks noChangeAspect="1"/>
          </p:cNvPicPr>
          <p:nvPr userDrawn="1"/>
        </p:nvPicPr>
        <p:blipFill>
          <a:blip r:embed="rId2"/>
          <a:stretch>
            <a:fillRect/>
          </a:stretch>
        </p:blipFill>
        <p:spPr>
          <a:xfrm>
            <a:off x="6218237" y="1807"/>
            <a:ext cx="6218459" cy="6992718"/>
          </a:xfrm>
          <a:prstGeom prst="rect">
            <a:avLst/>
          </a:prstGeom>
        </p:spPr>
      </p:pic>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74318" y="1207008"/>
            <a:ext cx="5486401" cy="849463"/>
          </a:xfrm>
        </p:spPr>
        <p:txBody>
          <a:bodyPr wrap="square">
            <a:spAutoFit/>
          </a:bodyPr>
          <a:lstStyle>
            <a:lvl1pPr>
              <a:defRPr/>
            </a:lvl1pPr>
          </a:lstStyle>
          <a:p>
            <a:r>
              <a:rPr lang="en-US"/>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8"/>
            <a:ext cx="1371917" cy="914400"/>
          </a:xfrm>
          <a:prstGeom prst="rect">
            <a:avLst/>
          </a:prstGeom>
        </p:spPr>
        <p:txBody>
          <a:bodyPr wrap="square" lIns="146304" tIns="91440" rIns="146304" bIns="91440">
            <a:spAutoFit/>
          </a:bodyPr>
          <a:lstStyle/>
          <a:p>
            <a:pPr lvl="0"/>
            <a:r>
              <a:rPr lang="en-US" sz="4800">
                <a:latin typeface="+mj-lt"/>
              </a:rPr>
              <a:t>Lab:</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637" y="3017520"/>
            <a:ext cx="5486401" cy="36576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b="1" i="0" baseline="0" dirty="0">
                <a:latin typeface="+mj-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505050"/>
                </a:solidFill>
                <a:effectLst/>
                <a:uLnTx/>
                <a:uFillTx/>
                <a:latin typeface="+mj-lt"/>
                <a:ea typeface="+mn-ea"/>
                <a:cs typeface="+mn-cs"/>
              </a:rPr>
              <a:t>&lt;&lt; Add Lab Exercises </a:t>
            </a:r>
            <a:br>
              <a:rPr kumimoji="0" lang="en-US" sz="3200" b="0" i="0" u="none" strike="noStrike" kern="1200" cap="none" spc="0" normalizeH="0" baseline="0" noProof="0">
                <a:ln>
                  <a:noFill/>
                </a:ln>
                <a:solidFill>
                  <a:srgbClr val="505050"/>
                </a:solidFill>
                <a:effectLst/>
                <a:uLnTx/>
                <a:uFillTx/>
                <a:latin typeface="+mj-lt"/>
                <a:ea typeface="+mn-ea"/>
                <a:cs typeface="+mn-cs"/>
              </a:rPr>
            </a:br>
            <a:r>
              <a:rPr kumimoji="0" lang="en-US" sz="3200" b="0" i="0" u="none" strike="noStrike" kern="1200" cap="none" spc="0" normalizeH="0" baseline="0" noProof="0">
                <a:ln>
                  <a:noFill/>
                </a:ln>
                <a:solidFill>
                  <a:srgbClr val="505050"/>
                </a:solidFill>
                <a:effectLst/>
                <a:uLnTx/>
                <a:uFillTx/>
                <a:latin typeface="+mj-lt"/>
                <a:ea typeface="+mn-ea"/>
                <a:cs typeface="+mn-cs"/>
              </a:rPr>
              <a:t>Exercise 1: Description</a:t>
            </a:r>
            <a:br>
              <a:rPr kumimoji="0" lang="en-US" sz="3200" b="0" i="0" u="none" strike="noStrike" kern="1200" cap="none" spc="0" normalizeH="0" baseline="0" noProof="0">
                <a:ln>
                  <a:noFill/>
                </a:ln>
                <a:solidFill>
                  <a:srgbClr val="505050"/>
                </a:solidFill>
                <a:effectLst/>
                <a:uLnTx/>
                <a:uFillTx/>
                <a:latin typeface="+mj-lt"/>
                <a:ea typeface="+mn-ea"/>
                <a:cs typeface="+mn-cs"/>
              </a:rPr>
            </a:br>
            <a:r>
              <a:rPr kumimoji="0" lang="en-US" sz="3200" b="0" i="0" u="none" strike="noStrike" kern="1200" cap="none" spc="0" normalizeH="0" baseline="0" noProof="0">
                <a:ln>
                  <a:noFill/>
                </a:ln>
                <a:solidFill>
                  <a:srgbClr val="505050"/>
                </a:solidFill>
                <a:effectLst/>
                <a:uLnTx/>
                <a:uFillTx/>
                <a:latin typeface="+mj-lt"/>
                <a:ea typeface="+mn-ea"/>
                <a:cs typeface="+mn-cs"/>
              </a:rPr>
              <a:t>Exercise 2: Description</a:t>
            </a:r>
            <a:br>
              <a:rPr kumimoji="0" lang="en-US" sz="3200" b="0" i="0" u="none" strike="noStrike" kern="1200" cap="none" spc="0" normalizeH="0" baseline="0" noProof="0">
                <a:ln>
                  <a:noFill/>
                </a:ln>
                <a:solidFill>
                  <a:srgbClr val="505050"/>
                </a:solidFill>
                <a:effectLst/>
                <a:uLnTx/>
                <a:uFillTx/>
                <a:latin typeface="+mj-lt"/>
                <a:ea typeface="+mn-ea"/>
                <a:cs typeface="+mn-cs"/>
              </a:rPr>
            </a:br>
            <a:r>
              <a:rPr kumimoji="0" lang="en-US" sz="3200" b="0" i="0" u="none" strike="noStrike" kern="1200" cap="none" spc="0" normalizeH="0" baseline="0" noProof="0">
                <a:ln>
                  <a:noFill/>
                </a:ln>
                <a:solidFill>
                  <a:srgbClr val="505050"/>
                </a:solidFill>
                <a:effectLst/>
                <a:uLnTx/>
                <a:uFillTx/>
                <a:latin typeface="+mj-lt"/>
                <a:ea typeface="+mn-ea"/>
                <a:cs typeface="+mn-cs"/>
              </a:rPr>
              <a:t>&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a:p>
        </p:txBody>
      </p:sp>
    </p:spTree>
    <p:extLst>
      <p:ext uri="{BB962C8B-B14F-4D97-AF65-F5344CB8AC3E}">
        <p14:creationId xmlns:p14="http://schemas.microsoft.com/office/powerpoint/2010/main" val="51779700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nowledge Chec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2E5CC4F-723D-4097-A367-2BEBAB8CF36C}"/>
              </a:ext>
            </a:extLst>
          </p:cNvPr>
          <p:cNvSpPr/>
          <p:nvPr userDrawn="1"/>
        </p:nvSpPr>
        <p:spPr>
          <a:xfrm>
            <a:off x="272272" y="295272"/>
            <a:ext cx="11889564" cy="914400"/>
          </a:xfrm>
          <a:prstGeom prst="rect">
            <a:avLst/>
          </a:prstGeom>
        </p:spPr>
        <p:txBody>
          <a:bodyPr wrap="square" lIns="146304" tIns="91440" rIns="146304" bIns="91440">
            <a:noAutofit/>
          </a:bodyPr>
          <a:lstStyle/>
          <a:p>
            <a:r>
              <a:rPr lang="en-US" sz="4800">
                <a:solidFill>
                  <a:schemeClr val="accent3"/>
                </a:solidFill>
                <a:latin typeface="+mj-lt"/>
              </a:rPr>
              <a:t>Knowledge Check</a:t>
            </a:r>
            <a:endParaRPr lang="en-US" sz="4800">
              <a:latin typeface="+mj-lt"/>
            </a:endParaRPr>
          </a:p>
        </p:txBody>
      </p:sp>
      <p:sp>
        <p:nvSpPr>
          <p:cNvPr id="5" name="Text Placeholder 4">
            <a:extLst>
              <a:ext uri="{FF2B5EF4-FFF2-40B4-BE49-F238E27FC236}">
                <a16:creationId xmlns:a16="http://schemas.microsoft.com/office/drawing/2014/main" id="{12AA7DFC-B089-4EFF-9CC5-F42DCAB1B648}"/>
              </a:ext>
            </a:extLst>
          </p:cNvPr>
          <p:cNvSpPr>
            <a:spLocks noGrp="1"/>
          </p:cNvSpPr>
          <p:nvPr>
            <p:ph type="body" sz="quarter" idx="10" hasCustomPrompt="1"/>
          </p:nvPr>
        </p:nvSpPr>
        <p:spPr>
          <a:xfrm>
            <a:off x="274320" y="1211262"/>
            <a:ext cx="11734800" cy="5487989"/>
          </a:xfrm>
        </p:spPr>
        <p:txBody>
          <a:bodyPr/>
          <a:lstStyle>
            <a:lvl1pPr>
              <a:defRPr/>
            </a:lvl1pPr>
            <a:lvl2pPr>
              <a:defRPr/>
            </a:lvl2pPr>
          </a:lstStyle>
          <a:p>
            <a:pPr lvl="0"/>
            <a:r>
              <a:rPr lang="en-US"/>
              <a:t>&lt;&lt;Question: &gt;&gt;</a:t>
            </a:r>
            <a:br>
              <a:rPr lang="en-US"/>
            </a:br>
            <a:r>
              <a:rPr lang="en-US"/>
              <a:t> &lt;&lt;Answer:&gt;&gt;</a:t>
            </a:r>
          </a:p>
        </p:txBody>
      </p:sp>
    </p:spTree>
    <p:extLst>
      <p:ext uri="{BB962C8B-B14F-4D97-AF65-F5344CB8AC3E}">
        <p14:creationId xmlns:p14="http://schemas.microsoft.com/office/powerpoint/2010/main" val="16022448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tmplLst>
          <p:tmpl lvl="1">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 lvl="2">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odule Summar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2E5CC4F-723D-4097-A367-2BEBAB8CF36C}"/>
              </a:ext>
            </a:extLst>
          </p:cNvPr>
          <p:cNvSpPr/>
          <p:nvPr userDrawn="1"/>
        </p:nvSpPr>
        <p:spPr>
          <a:xfrm>
            <a:off x="272272" y="295272"/>
            <a:ext cx="11889564" cy="923330"/>
          </a:xfrm>
          <a:prstGeom prst="rect">
            <a:avLst/>
          </a:prstGeom>
        </p:spPr>
        <p:txBody>
          <a:bodyPr wrap="square" lIns="146304" tIns="91440" rIns="146304" bIns="91440">
            <a:noAutofit/>
          </a:bodyPr>
          <a:lstStyle/>
          <a:p>
            <a:r>
              <a:rPr lang="en-US" sz="4800">
                <a:solidFill>
                  <a:schemeClr val="accent3"/>
                </a:solidFill>
                <a:latin typeface="+mj-lt"/>
              </a:rPr>
              <a:t>Module Summary</a:t>
            </a:r>
            <a:endParaRPr lang="en-US" sz="4800">
              <a:latin typeface="+mj-lt"/>
            </a:endParaRPr>
          </a:p>
        </p:txBody>
      </p:sp>
      <p:sp>
        <p:nvSpPr>
          <p:cNvPr id="5" name="Text Placeholder 4">
            <a:extLst>
              <a:ext uri="{FF2B5EF4-FFF2-40B4-BE49-F238E27FC236}">
                <a16:creationId xmlns:a16="http://schemas.microsoft.com/office/drawing/2014/main" id="{12AA7DFC-B089-4EFF-9CC5-F42DCAB1B648}"/>
              </a:ext>
            </a:extLst>
          </p:cNvPr>
          <p:cNvSpPr>
            <a:spLocks noGrp="1"/>
          </p:cNvSpPr>
          <p:nvPr>
            <p:ph type="body" sz="quarter" idx="10" hasCustomPrompt="1"/>
          </p:nvPr>
        </p:nvSpPr>
        <p:spPr>
          <a:xfrm>
            <a:off x="274320" y="1211262"/>
            <a:ext cx="11734800" cy="5487989"/>
          </a:xfrm>
        </p:spPr>
        <p:txBody>
          <a:bodyPr/>
          <a:lstStyle>
            <a:lvl1pPr>
              <a:defRPr/>
            </a:lvl1pPr>
            <a:lvl2pPr>
              <a:defRPr/>
            </a:lvl2pPr>
          </a:lstStyle>
          <a:p>
            <a:pPr lvl="0"/>
            <a:r>
              <a:rPr lang="en-US"/>
              <a:t>&lt;&lt;Key takeaways from the Module&gt;&gt;</a:t>
            </a:r>
          </a:p>
        </p:txBody>
      </p:sp>
    </p:spTree>
    <p:extLst>
      <p:ext uri="{BB962C8B-B14F-4D97-AF65-F5344CB8AC3E}">
        <p14:creationId xmlns:p14="http://schemas.microsoft.com/office/powerpoint/2010/main" val="4806674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tmplLst>
          <p:tmpl lvl="1">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 lvl="2">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248800106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7_BULLETED LIST">
    <p:bg>
      <p:bgRef idx="1001">
        <a:schemeClr val="bg1"/>
      </p:bgRef>
    </p:bg>
    <p:spTree>
      <p:nvGrpSpPr>
        <p:cNvPr id="1" name=""/>
        <p:cNvGrpSpPr/>
        <p:nvPr/>
      </p:nvGrpSpPr>
      <p:grpSpPr>
        <a:xfrm>
          <a:off x="0" y="0"/>
          <a:ext cx="0" cy="0"/>
          <a:chOff x="0" y="0"/>
          <a:chExt cx="0" cy="0"/>
        </a:xfrm>
      </p:grpSpPr>
      <p:sp>
        <p:nvSpPr>
          <p:cNvPr id="7" name="Text Placeholder 2"/>
          <p:cNvSpPr>
            <a:spLocks noGrp="1"/>
          </p:cNvSpPr>
          <p:nvPr>
            <p:ph type="body" sz="quarter" idx="16" hasCustomPrompt="1"/>
          </p:nvPr>
        </p:nvSpPr>
        <p:spPr>
          <a:xfrm>
            <a:off x="446567" y="1730194"/>
            <a:ext cx="10989103" cy="3044250"/>
          </a:xfrm>
        </p:spPr>
        <p:txBody>
          <a:bodyPr lIns="0" tIns="0" rIns="0" bIns="0">
            <a:noAutofit/>
          </a:bodyPr>
          <a:lstStyle>
            <a:lvl1pPr marL="169828" marR="0" indent="-169828" algn="l" defTabSz="508525" rtl="0" eaLnBrk="1" fontAlgn="auto" latinLnBrk="0" hangingPunct="1">
              <a:lnSpc>
                <a:spcPct val="114000"/>
              </a:lnSpc>
              <a:spcBef>
                <a:spcPts val="1199"/>
              </a:spcBef>
              <a:spcAft>
                <a:spcPts val="0"/>
              </a:spcAft>
              <a:buClr>
                <a:schemeClr val="accent4"/>
              </a:buClr>
              <a:buSzTx/>
              <a:buFont typeface="Arial" panose="020B0604020202020204" pitchFamily="34" charset="0"/>
              <a:buChar char="•"/>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452345" indent="-285692" algn="l" defTabSz="508525" rtl="0" eaLnBrk="1" latinLnBrk="0" hangingPunct="1">
              <a:lnSpc>
                <a:spcPct val="114000"/>
              </a:lnSpc>
              <a:spcBef>
                <a:spcPts val="1199"/>
              </a:spcBef>
              <a:spcAft>
                <a:spcPts val="0"/>
              </a:spcAft>
              <a:buFont typeface="Arial" panose="020B0604020202020204" pitchFamily="34" charset="0"/>
              <a:buChar char="•"/>
              <a:defRPr lang="en-US" sz="2000" kern="1200" dirty="0" smtClean="0">
                <a:solidFill>
                  <a:schemeClr val="tx1"/>
                </a:solidFill>
                <a:latin typeface="+mn-lt"/>
                <a:ea typeface="+mn-ea"/>
                <a:cs typeface="+mn-cs"/>
              </a:defRPr>
            </a:lvl2pPr>
            <a:lvl3pPr marL="618997" indent="-285692" algn="l" defTabSz="508525" rtl="0" eaLnBrk="1" latinLnBrk="0" hangingPunct="1">
              <a:lnSpc>
                <a:spcPct val="114000"/>
              </a:lnSpc>
              <a:spcBef>
                <a:spcPts val="1199"/>
              </a:spcBef>
              <a:spcAft>
                <a:spcPts val="0"/>
              </a:spcAft>
              <a:buClr>
                <a:schemeClr val="accent4"/>
              </a:buClr>
              <a:buFont typeface="Arial" panose="020B0604020202020204" pitchFamily="34" charset="0"/>
              <a:buChar char="•"/>
              <a:defRPr lang="en-US" sz="2000" kern="1200" baseline="0" dirty="0" smtClean="0">
                <a:solidFill>
                  <a:schemeClr val="tx1"/>
                </a:solidFill>
                <a:latin typeface="+mn-lt"/>
                <a:ea typeface="+mn-ea"/>
                <a:cs typeface="+mn-cs"/>
              </a:defRPr>
            </a:lvl3pPr>
            <a:lvl4pPr marL="787239" indent="-285692" algn="l" defTabSz="508525" rtl="0" eaLnBrk="1" latinLnBrk="0" hangingPunct="1">
              <a:lnSpc>
                <a:spcPct val="114000"/>
              </a:lnSpc>
              <a:spcBef>
                <a:spcPts val="1199"/>
              </a:spcBef>
              <a:spcAft>
                <a:spcPts val="0"/>
              </a:spcAft>
              <a:buNone/>
              <a:defRPr lang="en-US" sz="2000" kern="1200" dirty="0">
                <a:solidFill>
                  <a:schemeClr val="tx1"/>
                </a:solidFill>
                <a:latin typeface="+mn-lt"/>
                <a:ea typeface="+mn-ea"/>
                <a:cs typeface="+mn-cs"/>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9828" lvl="0" indent="-169828" algn="l" defTabSz="508525"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41244" lvl="1" indent="-174589" algn="l" defTabSz="508525" rtl="0" eaLnBrk="1" latinLnBrk="0" hangingPunct="1">
              <a:spcBef>
                <a:spcPct val="20000"/>
              </a:spcBef>
              <a:buClr>
                <a:schemeClr val="accent4"/>
              </a:buClr>
              <a:buFont typeface="Arial" panose="020B0604020202020204" pitchFamily="34" charset="0"/>
              <a:buChar char="•"/>
            </a:pPr>
            <a:r>
              <a:rPr lang="en-US"/>
              <a:t>Level 2</a:t>
            </a:r>
          </a:p>
          <a:p>
            <a:pPr marL="511071" lvl="2" indent="-177762" algn="l" defTabSz="508525" rtl="0" eaLnBrk="1" latinLnBrk="0" hangingPunct="1">
              <a:spcBef>
                <a:spcPct val="20000"/>
              </a:spcBef>
              <a:buClr>
                <a:schemeClr val="accent4"/>
              </a:buClr>
              <a:buFont typeface="Arial" panose="020B0604020202020204" pitchFamily="34" charset="0"/>
              <a:buChar char="•"/>
            </a:pPr>
            <a:r>
              <a:rPr lang="en-US"/>
              <a:t>Level 3</a:t>
            </a:r>
          </a:p>
          <a:p>
            <a:pPr marL="634870" lvl="3" indent="-133322" algn="l" defTabSz="508525" rtl="0" eaLnBrk="1" latinLnBrk="0" hangingPunct="1">
              <a:spcBef>
                <a:spcPct val="20000"/>
              </a:spcBef>
              <a:buClr>
                <a:schemeClr val="accent4"/>
              </a:buClr>
              <a:buFont typeface="Arial" panose="020B0604020202020204" pitchFamily="34" charset="0"/>
              <a:buChar char="•"/>
            </a:pPr>
            <a:r>
              <a:rPr lang="en-US"/>
              <a:t>Level 4</a:t>
            </a:r>
          </a:p>
        </p:txBody>
      </p:sp>
      <p:sp>
        <p:nvSpPr>
          <p:cNvPr id="17" name="Text Placeholder 2"/>
          <p:cNvSpPr>
            <a:spLocks noGrp="1"/>
          </p:cNvSpPr>
          <p:nvPr>
            <p:ph type="body" sz="quarter" idx="14" hasCustomPrompt="1"/>
          </p:nvPr>
        </p:nvSpPr>
        <p:spPr>
          <a:xfrm>
            <a:off x="400979" y="347969"/>
            <a:ext cx="11036744" cy="781585"/>
          </a:xfrm>
        </p:spPr>
        <p:txBody>
          <a:bodyPr lIns="0" tIns="0" rIns="0" bIns="0" anchor="t" anchorCtr="0">
            <a:noAutofit/>
          </a:bodyPr>
          <a:lstStyle>
            <a:lvl1pPr marL="0" indent="0" algn="l" defTabSz="508525" rtl="0" eaLnBrk="1" latinLnBrk="0" hangingPunct="1">
              <a:lnSpc>
                <a:spcPct val="90000"/>
              </a:lnSpc>
              <a:spcBef>
                <a:spcPts val="0"/>
              </a:spcBef>
              <a:spcAft>
                <a:spcPts val="0"/>
              </a:spcAft>
              <a:buFont typeface="Arial"/>
              <a:buNone/>
              <a:defRPr lang="en-US" sz="5399" b="0" kern="1200" cap="none" spc="-100" baseline="0" dirty="0">
                <a:solidFill>
                  <a:schemeClr val="tx1"/>
                </a:solidFill>
                <a:latin typeface="+mj-lt"/>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custDataLst>
      <p:tags r:id="rId1"/>
    </p:custDataLst>
    <p:extLst>
      <p:ext uri="{BB962C8B-B14F-4D97-AF65-F5344CB8AC3E}">
        <p14:creationId xmlns:p14="http://schemas.microsoft.com/office/powerpoint/2010/main" val="4884632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338586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9876" y="464539"/>
            <a:ext cx="10412041" cy="1148235"/>
          </a:xfrm>
        </p:spPr>
        <p:txBody>
          <a:bodyPr anchor="ctr">
            <a:normAutofit/>
          </a:bodyPr>
          <a:lstStyle>
            <a:lvl1pPr algn="l">
              <a:defRPr sz="4896"/>
            </a:lvl1pPr>
          </a:lstStyle>
          <a:p>
            <a:r>
              <a:rPr lang="en-US"/>
              <a:t>Click to edit Master title style</a:t>
            </a:r>
          </a:p>
        </p:txBody>
      </p:sp>
    </p:spTree>
    <p:extLst>
      <p:ext uri="{BB962C8B-B14F-4D97-AF65-F5344CB8AC3E}">
        <p14:creationId xmlns:p14="http://schemas.microsoft.com/office/powerpoint/2010/main" val="33703596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107467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089228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193173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74639" y="1212850"/>
            <a:ext cx="11889564" cy="1969770"/>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973276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91784434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9" cy="753369"/>
          </a:xfrm>
          <a:noFill/>
        </p:spPr>
        <p:txBody>
          <a:bodyPr wrap="square" lIns="0" tIns="0" rIns="0" bIns="182880" anchor="b" anchorCtr="0">
            <a:spAutoFit/>
          </a:bodyPr>
          <a:lstStyle>
            <a:lvl1pPr>
              <a:lnSpc>
                <a:spcPct val="100000"/>
              </a:lnSpc>
              <a:defRPr sz="3700" strike="noStrike" spc="-150"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10921" y="310868"/>
            <a:ext cx="2103514" cy="943146"/>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225445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8" cy="753369"/>
          </a:xfrm>
          <a:noFill/>
        </p:spPr>
        <p:txBody>
          <a:bodyPr wrap="square" lIns="0" tIns="0" rIns="0" bIns="182880" anchor="b" anchorCtr="0">
            <a:noAutofit/>
          </a:bodyPr>
          <a:lstStyle>
            <a:lvl1pPr>
              <a:lnSpc>
                <a:spcPct val="100000"/>
              </a:lnSpc>
              <a:defRPr sz="3700" strike="noStrike" spc="-150"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1280736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7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440634" y="3594"/>
            <a:ext cx="6995517" cy="6994525"/>
          </a:xfrm>
          <a:no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203" userDrawn="1">
          <p15:clr>
            <a:srgbClr val="547EBF"/>
          </p15:clr>
        </p15:guide>
        <p15:guide id="10" orient="horz" pos="1603" userDrawn="1">
          <p15:clr>
            <a:srgbClr val="547EBF"/>
          </p15:clr>
        </p15:guide>
        <p15:guide id="11" orient="horz" pos="2303" userDrawn="1">
          <p15:clr>
            <a:srgbClr val="547EBF"/>
          </p15:clr>
        </p15:guide>
        <p15:guide id="12" orient="horz" pos="2503" userDrawn="1">
          <p15:clr>
            <a:srgbClr val="547EBF"/>
          </p15:clr>
        </p15:guide>
        <p15:guide id="13" orient="horz" pos="2703" userDrawn="1">
          <p15:clr>
            <a:srgbClr val="547EBF"/>
          </p15:clr>
        </p15:guide>
        <p15:guide id="14" pos="3218" userDrawn="1">
          <p15:clr>
            <a:srgbClr val="547EBF"/>
          </p15:clr>
        </p15:guide>
        <p15:guide id="15" pos="421" userDrawn="1">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68786" y="2536681"/>
            <a:ext cx="4440210" cy="1119124"/>
          </a:xfrm>
        </p:spPr>
        <p:txBody>
          <a:bodyPr bIns="45720" anchor="b">
            <a:noAutofit/>
          </a:bodyPr>
          <a:lstStyle>
            <a:lvl1pPr algn="l">
              <a:defRPr sz="37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00" baseline="0">
                <a:solidFill>
                  <a:schemeClr val="bg1"/>
                </a:solidFill>
              </a:defRPr>
            </a:lvl1pPr>
            <a:lvl2pPr marL="0" indent="0" algn="l" defTabSz="951248">
              <a:lnSpc>
                <a:spcPct val="100000"/>
              </a:lnSpc>
              <a:spcBef>
                <a:spcPts val="685"/>
              </a:spcBef>
              <a:buFontTx/>
              <a:buNone/>
              <a:defRPr sz="2200" baseline="0">
                <a:solidFill>
                  <a:schemeClr val="bg1"/>
                </a:solidFill>
              </a:defRPr>
            </a:lvl2pPr>
            <a:lvl3pPr marL="0" indent="0" algn="l" defTabSz="951248">
              <a:lnSpc>
                <a:spcPct val="100000"/>
              </a:lnSpc>
              <a:spcBef>
                <a:spcPts val="685"/>
              </a:spcBef>
              <a:buFontTx/>
              <a:buNone/>
              <a:defRPr sz="2200" baseline="0">
                <a:solidFill>
                  <a:schemeClr val="bg1"/>
                </a:solidFill>
              </a:defRPr>
            </a:lvl3pPr>
            <a:lvl4pPr marL="0" indent="0" algn="l" defTabSz="951248">
              <a:lnSpc>
                <a:spcPct val="100000"/>
              </a:lnSpc>
              <a:spcBef>
                <a:spcPts val="685"/>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51248">
              <a:lnSpc>
                <a:spcPct val="100000"/>
              </a:lnSpc>
              <a:spcBef>
                <a:spcPts val="685"/>
              </a:spcBef>
              <a:buFontTx/>
              <a:buNone/>
              <a:defRPr sz="2200" baseline="0">
                <a:solidFill>
                  <a:schemeClr val="bg1"/>
                </a:solidFill>
              </a:defRPr>
            </a:lvl6pPr>
            <a:lvl7pPr marL="0" indent="0" algn="l" defTabSz="951248">
              <a:lnSpc>
                <a:spcPct val="100000"/>
              </a:lnSpc>
              <a:spcBef>
                <a:spcPts val="685"/>
              </a:spcBef>
              <a:buFontTx/>
              <a:buNone/>
              <a:defRPr sz="2200" baseline="0">
                <a:solidFill>
                  <a:schemeClr val="bg1"/>
                </a:solidFill>
              </a:defRPr>
            </a:lvl7pPr>
            <a:lvl8pPr marL="0" indent="0" algn="l" defTabSz="951248">
              <a:lnSpc>
                <a:spcPct val="100000"/>
              </a:lnSpc>
              <a:spcBef>
                <a:spcPts val="685"/>
              </a:spcBef>
              <a:buFontTx/>
              <a:buNone/>
              <a:defRPr sz="2200" baseline="0">
                <a:solidFill>
                  <a:schemeClr val="bg1"/>
                </a:solidFill>
              </a:defRPr>
            </a:lvl8pPr>
            <a:lvl9pPr marL="0" indent="0" algn="l" defTabSz="951248">
              <a:lnSpc>
                <a:spcPct val="100000"/>
              </a:lnSpc>
              <a:spcBef>
                <a:spcPts val="685"/>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440634" y="3594"/>
            <a:ext cx="6995517" cy="6990931"/>
          </a:xfrm>
          <a:solidFill>
            <a:srgbClr val="0078D4"/>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203" userDrawn="1">
          <p15:clr>
            <a:srgbClr val="FFFFFF"/>
          </p15:clr>
        </p15:guide>
        <p15:guide id="9" pos="421" userDrawn="1">
          <p15:clr>
            <a:srgbClr val="FFFFFF"/>
          </p15:clr>
        </p15:guide>
        <p15:guide id="10" pos="3232" userDrawn="1">
          <p15:clr>
            <a:srgbClr val="FFFFFF"/>
          </p15:clr>
        </p15:guide>
        <p15:guide id="11" orient="horz" pos="1603" userDrawn="1">
          <p15:clr>
            <a:srgbClr val="FFFFFF"/>
          </p15:clr>
        </p15:guide>
        <p15:guide id="12" orient="horz" pos="2303" userDrawn="1">
          <p15:clr>
            <a:srgbClr val="FFFFFF"/>
          </p15:clr>
        </p15:guide>
        <p15:guide id="13" orient="horz" pos="2503" userDrawn="1">
          <p15:clr>
            <a:srgbClr val="FFFFFF"/>
          </p15:clr>
        </p15:guide>
        <p15:guide id="14" orient="horz" pos="2703" userDrawn="1">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7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203" userDrawn="1">
          <p15:clr>
            <a:srgbClr val="547EBF"/>
          </p15:clr>
        </p15:guide>
        <p15:guide id="10" orient="horz" pos="1603" userDrawn="1">
          <p15:clr>
            <a:srgbClr val="547EBF"/>
          </p15:clr>
        </p15:guide>
        <p15:guide id="11" orient="horz" pos="2303" userDrawn="1">
          <p15:clr>
            <a:srgbClr val="547EBF"/>
          </p15:clr>
        </p15:guide>
        <p15:guide id="12" orient="horz" pos="2503" userDrawn="1">
          <p15:clr>
            <a:srgbClr val="547EBF"/>
          </p15:clr>
        </p15:guide>
        <p15:guide id="13" orient="horz" pos="2703" userDrawn="1">
          <p15:clr>
            <a:srgbClr val="547EBF"/>
          </p15:clr>
        </p15:guide>
        <p15:guide id="14" pos="3218" userDrawn="1">
          <p15:clr>
            <a:srgbClr val="547EBF"/>
          </p15:clr>
        </p15:guide>
        <p15:guide id="15" pos="421" userDrawn="1">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7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00" baseline="0">
                <a:solidFill>
                  <a:schemeClr val="bg1"/>
                </a:solidFill>
              </a:defRPr>
            </a:lvl1pPr>
            <a:lvl2pPr marL="0" indent="0" algn="l" defTabSz="951248">
              <a:lnSpc>
                <a:spcPct val="100000"/>
              </a:lnSpc>
              <a:spcBef>
                <a:spcPts val="685"/>
              </a:spcBef>
              <a:buFontTx/>
              <a:buNone/>
              <a:defRPr sz="2200" baseline="0">
                <a:solidFill>
                  <a:schemeClr val="bg1"/>
                </a:solidFill>
              </a:defRPr>
            </a:lvl2pPr>
            <a:lvl3pPr marL="0" indent="0" algn="l" defTabSz="951248">
              <a:lnSpc>
                <a:spcPct val="100000"/>
              </a:lnSpc>
              <a:spcBef>
                <a:spcPts val="685"/>
              </a:spcBef>
              <a:buFontTx/>
              <a:buNone/>
              <a:defRPr sz="2200" baseline="0">
                <a:solidFill>
                  <a:schemeClr val="bg1"/>
                </a:solidFill>
              </a:defRPr>
            </a:lvl3pPr>
            <a:lvl4pPr marL="0" indent="0" algn="l" defTabSz="951248">
              <a:lnSpc>
                <a:spcPct val="100000"/>
              </a:lnSpc>
              <a:spcBef>
                <a:spcPts val="685"/>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51248">
              <a:lnSpc>
                <a:spcPct val="100000"/>
              </a:lnSpc>
              <a:spcBef>
                <a:spcPts val="685"/>
              </a:spcBef>
              <a:buFontTx/>
              <a:buNone/>
              <a:defRPr sz="2200" baseline="0">
                <a:solidFill>
                  <a:schemeClr val="bg1"/>
                </a:solidFill>
              </a:defRPr>
            </a:lvl6pPr>
            <a:lvl7pPr marL="0" indent="0" algn="l" defTabSz="951248">
              <a:lnSpc>
                <a:spcPct val="100000"/>
              </a:lnSpc>
              <a:spcBef>
                <a:spcPts val="685"/>
              </a:spcBef>
              <a:buFontTx/>
              <a:buNone/>
              <a:defRPr sz="2200" baseline="0">
                <a:solidFill>
                  <a:schemeClr val="bg1"/>
                </a:solidFill>
              </a:defRPr>
            </a:lvl7pPr>
            <a:lvl8pPr marL="0" indent="0" algn="l" defTabSz="951248">
              <a:lnSpc>
                <a:spcPct val="100000"/>
              </a:lnSpc>
              <a:spcBef>
                <a:spcPts val="685"/>
              </a:spcBef>
              <a:buFontTx/>
              <a:buNone/>
              <a:defRPr sz="2200" baseline="0">
                <a:solidFill>
                  <a:schemeClr val="bg1"/>
                </a:solidFill>
              </a:defRPr>
            </a:lvl8pPr>
            <a:lvl9pPr marL="0" indent="0" algn="l" defTabSz="951248">
              <a:lnSpc>
                <a:spcPct val="100000"/>
              </a:lnSpc>
              <a:spcBef>
                <a:spcPts val="685"/>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21" userDrawn="1">
          <p15:clr>
            <a:srgbClr val="FFFFFF"/>
          </p15:clr>
        </p15:guide>
        <p15:guide id="2" pos="6214" userDrawn="1">
          <p15:clr>
            <a:srgbClr val="FFFFFF"/>
          </p15:clr>
        </p15:guide>
        <p15:guide id="3" orient="horz" pos="2203" userDrawn="1">
          <p15:clr>
            <a:srgbClr val="FFFFFF"/>
          </p15:clr>
        </p15:guide>
        <p15:guide id="4" orient="horz" pos="1903" userDrawn="1">
          <p15:clr>
            <a:srgbClr val="FFFFFF"/>
          </p15:clr>
        </p15:guide>
        <p15:guide id="5" orient="horz" pos="2303" userDrawn="1">
          <p15:clr>
            <a:srgbClr val="FFFFFF"/>
          </p15:clr>
        </p15:guide>
        <p15:guide id="6" orient="horz" pos="2503" userDrawn="1">
          <p15:clr>
            <a:srgbClr val="FFFFFF"/>
          </p15:clr>
        </p15:guide>
        <p15:guide id="7" orient="horz" pos="2703" userDrawn="1">
          <p15:clr>
            <a:srgbClr val="FFFF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7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203" userDrawn="1">
          <p15:clr>
            <a:srgbClr val="A4A3A4"/>
          </p15:clr>
        </p15:guide>
        <p15:guide id="10" orient="horz" pos="2303" userDrawn="1">
          <p15:clr>
            <a:srgbClr val="547EBF"/>
          </p15:clr>
        </p15:guide>
        <p15:guide id="11" orient="horz" pos="1903" userDrawn="1">
          <p15:clr>
            <a:srgbClr val="547EBF"/>
          </p15:clr>
        </p15:guide>
        <p15:guide id="12" orient="horz" pos="2703" userDrawn="1">
          <p15:clr>
            <a:srgbClr val="547EBF"/>
          </p15:clr>
        </p15:guide>
        <p15:guide id="13" orient="horz" pos="2503" userDrawn="1">
          <p15:clr>
            <a:srgbClr val="547EBF"/>
          </p15:clr>
        </p15:guide>
        <p15:guide id="14" pos="421" userDrawn="1">
          <p15:clr>
            <a:srgbClr val="547EBF"/>
          </p15:clr>
        </p15:guide>
        <p15:guide id="15" pos="6214" userDrawn="1">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98" userDrawn="1">
          <p15:clr>
            <a:srgbClr val="547EBF"/>
          </p15:clr>
        </p15:guide>
        <p15:guide id="2" orient="horz" pos="4001" userDrawn="1">
          <p15:clr>
            <a:srgbClr val="547EBF"/>
          </p15:clr>
        </p15:guide>
        <p15:guide id="3" orient="horz" pos="805" userDrawn="1">
          <p15:clr>
            <a:srgbClr val="547EBF"/>
          </p15:clr>
        </p15:guide>
        <p15:guide id="4" orient="horz" pos="206" userDrawn="1">
          <p15:clr>
            <a:srgbClr val="547EBF"/>
          </p15:clr>
        </p15:guide>
        <p15:guide id="5" orient="horz" pos="505" userDrawn="1">
          <p15:clr>
            <a:srgbClr val="547EBF"/>
          </p15:clr>
        </p15:guide>
        <p15:guide id="6" pos="392" userDrawn="1">
          <p15:clr>
            <a:srgbClr val="547EBF"/>
          </p15:clr>
        </p15:guide>
        <p15:guide id="7" pos="7413" userDrawn="1">
          <p15:clr>
            <a:srgbClr val="547EB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98" userDrawn="1">
          <p15:clr>
            <a:srgbClr val="547EBF"/>
          </p15:clr>
        </p15:guide>
        <p15:guide id="2" orient="horz" pos="4001" userDrawn="1">
          <p15:clr>
            <a:srgbClr val="547EBF"/>
          </p15:clr>
        </p15:guide>
        <p15:guide id="3" orient="horz" pos="805" userDrawn="1">
          <p15:clr>
            <a:srgbClr val="547EBF"/>
          </p15:clr>
        </p15:guide>
        <p15:guide id="4" orient="horz" pos="206" userDrawn="1">
          <p15:clr>
            <a:srgbClr val="547EBF"/>
          </p15:clr>
        </p15:guide>
        <p15:guide id="5" orient="horz" pos="505" userDrawn="1">
          <p15:clr>
            <a:srgbClr val="547EBF"/>
          </p15:clr>
        </p15:guide>
        <p15:guide id="6" pos="392" userDrawn="1">
          <p15:clr>
            <a:srgbClr val="547EBF"/>
          </p15:clr>
        </p15:guide>
        <p15:guide id="7" pos="7413" userDrawn="1">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marL="0" indent="0">
              <a:buNone/>
              <a:defRPr sz="2400"/>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905" userDrawn="1">
          <p15:clr>
            <a:srgbClr val="547EBF"/>
          </p15:clr>
        </p15:guide>
        <p15:guide id="2" orient="horz" pos="4001" userDrawn="1">
          <p15:clr>
            <a:srgbClr val="547EBF"/>
          </p15:clr>
        </p15:guide>
        <p15:guide id="3" orient="horz" pos="805" userDrawn="1">
          <p15:clr>
            <a:srgbClr val="547EBF"/>
          </p15:clr>
        </p15:guide>
        <p15:guide id="4" orient="horz" pos="206" userDrawn="1">
          <p15:clr>
            <a:srgbClr val="547EBF"/>
          </p15:clr>
        </p15:guide>
        <p15:guide id="5" orient="horz" pos="505" userDrawn="1">
          <p15:clr>
            <a:srgbClr val="547EBF"/>
          </p15:clr>
        </p15:guide>
        <p15:guide id="6" pos="392" userDrawn="1">
          <p15:clr>
            <a:srgbClr val="547EBF"/>
          </p15:clr>
        </p15:guide>
        <p15:guide id="7" pos="7413" userDrawn="1">
          <p15:clr>
            <a:srgbClr val="547EB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68785" y="1436146"/>
            <a:ext cx="11098907" cy="4915597"/>
          </a:xfrm>
          <a:prstGeom prst="rect">
            <a:avLst/>
          </a:prstGeom>
        </p:spPr>
        <p:txBody>
          <a:bodyPr/>
          <a:lstStyle>
            <a:lvl1pPr marL="0" indent="0">
              <a:buNone/>
              <a:defRPr sz="2400"/>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905" userDrawn="1">
          <p15:clr>
            <a:srgbClr val="547EBF"/>
          </p15:clr>
        </p15:guide>
        <p15:guide id="2" orient="horz" pos="4001" userDrawn="1">
          <p15:clr>
            <a:srgbClr val="547EBF"/>
          </p15:clr>
        </p15:guide>
        <p15:guide id="3" orient="horz" pos="805" userDrawn="1">
          <p15:clr>
            <a:srgbClr val="547EBF"/>
          </p15:clr>
        </p15:guide>
        <p15:guide id="4" orient="horz" pos="206" userDrawn="1">
          <p15:clr>
            <a:srgbClr val="547EBF"/>
          </p15:clr>
        </p15:guide>
        <p15:guide id="5" orient="horz" pos="505" userDrawn="1">
          <p15:clr>
            <a:srgbClr val="547EBF"/>
          </p15:clr>
        </p15:guide>
        <p15:guide id="6" pos="392" userDrawn="1">
          <p15:clr>
            <a:srgbClr val="547EBF"/>
          </p15:clr>
        </p15:guide>
        <p15:guide id="7" pos="7413" userDrawn="1">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21" userDrawn="1">
          <p15:clr>
            <a:srgbClr val="547EBF"/>
          </p15:clr>
        </p15:guide>
        <p15:guide id="11" orient="horz" pos="805" userDrawn="1">
          <p15:clr>
            <a:srgbClr val="547EBF"/>
          </p15:clr>
        </p15:guide>
        <p15:guide id="12" orient="horz" pos="905" userDrawn="1">
          <p15:clr>
            <a:srgbClr val="547EBF"/>
          </p15:clr>
        </p15:guide>
        <p15:guide id="13" pos="3817" userDrawn="1">
          <p15:clr>
            <a:srgbClr val="547EBF"/>
          </p15:clr>
        </p15:guide>
        <p15:guide id="14" pos="4017" userDrawn="1">
          <p15:clr>
            <a:srgbClr val="547EBF"/>
          </p15:clr>
        </p15:guide>
        <p15:guide id="15" pos="7413" userDrawn="1">
          <p15:clr>
            <a:srgbClr val="547EBF"/>
          </p15:clr>
        </p15:guide>
        <p15:guide id="16" orient="horz" pos="505" userDrawn="1">
          <p15:clr>
            <a:srgbClr val="547EBF"/>
          </p15:clr>
        </p15:guide>
        <p15:guide id="17" orient="horz" pos="206" userDrawn="1">
          <p15:clr>
            <a:srgbClr val="547EBF"/>
          </p15:clr>
        </p15:guide>
        <p15:guide id="18" orient="horz" pos="4001" userDrawn="1">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21" userDrawn="1">
          <p15:clr>
            <a:srgbClr val="547EBF"/>
          </p15:clr>
        </p15:guide>
        <p15:guide id="11" orient="horz" pos="805" userDrawn="1">
          <p15:clr>
            <a:srgbClr val="547EBF"/>
          </p15:clr>
        </p15:guide>
        <p15:guide id="12" orient="horz" pos="905" userDrawn="1">
          <p15:clr>
            <a:srgbClr val="547EBF"/>
          </p15:clr>
        </p15:guide>
        <p15:guide id="13" pos="3817" userDrawn="1">
          <p15:clr>
            <a:srgbClr val="547EBF"/>
          </p15:clr>
        </p15:guide>
        <p15:guide id="14" pos="4017" userDrawn="1">
          <p15:clr>
            <a:srgbClr val="547EBF"/>
          </p15:clr>
        </p15:guide>
        <p15:guide id="15" pos="7413" userDrawn="1">
          <p15:clr>
            <a:srgbClr val="547EBF"/>
          </p15:clr>
        </p15:guide>
        <p15:guide id="16" orient="horz" pos="505" userDrawn="1">
          <p15:clr>
            <a:srgbClr val="547EBF"/>
          </p15:clr>
        </p15:guide>
        <p15:guide id="17" orient="horz" pos="206" userDrawn="1">
          <p15:clr>
            <a:srgbClr val="547EBF"/>
          </p15:clr>
        </p15:guide>
        <p15:guide id="18" orient="horz" pos="4001" userDrawn="1">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817" userDrawn="1">
          <p15:clr>
            <a:srgbClr val="547EBF"/>
          </p15:clr>
        </p15:guide>
        <p15:guide id="31" orient="horz" pos="905" userDrawn="1">
          <p15:clr>
            <a:srgbClr val="547EBF"/>
          </p15:clr>
        </p15:guide>
        <p15:guide id="32" pos="4017" userDrawn="1">
          <p15:clr>
            <a:srgbClr val="547EBF"/>
          </p15:clr>
        </p15:guide>
        <p15:guide id="33" pos="3417" userDrawn="1">
          <p15:clr>
            <a:srgbClr val="A4A3A4"/>
          </p15:clr>
        </p15:guide>
        <p15:guide id="34" pos="3218" userDrawn="1">
          <p15:clr>
            <a:srgbClr val="A4A3A4"/>
          </p15:clr>
        </p15:guide>
        <p15:guide id="35" pos="2818" userDrawn="1">
          <p15:clr>
            <a:srgbClr val="A4A3A4"/>
          </p15:clr>
        </p15:guide>
        <p15:guide id="36" pos="2618" userDrawn="1">
          <p15:clr>
            <a:srgbClr val="A4A3A4"/>
          </p15:clr>
        </p15:guide>
        <p15:guide id="37" pos="2219" userDrawn="1">
          <p15:clr>
            <a:srgbClr val="A4A3A4"/>
          </p15:clr>
        </p15:guide>
        <p15:guide id="38" pos="2020" userDrawn="1">
          <p15:clr>
            <a:srgbClr val="A4A3A4"/>
          </p15:clr>
        </p15:guide>
        <p15:guide id="39" pos="1620" userDrawn="1">
          <p15:clr>
            <a:srgbClr val="A4A3A4"/>
          </p15:clr>
        </p15:guide>
        <p15:guide id="40" pos="1420" userDrawn="1">
          <p15:clr>
            <a:srgbClr val="A4A3A4"/>
          </p15:clr>
        </p15:guide>
        <p15:guide id="41" pos="1020" userDrawn="1">
          <p15:clr>
            <a:srgbClr val="A4A3A4"/>
          </p15:clr>
        </p15:guide>
        <p15:guide id="42" pos="820" userDrawn="1">
          <p15:clr>
            <a:srgbClr val="A4A3A4"/>
          </p15:clr>
        </p15:guide>
        <p15:guide id="43" pos="421" userDrawn="1">
          <p15:clr>
            <a:srgbClr val="547EBF"/>
          </p15:clr>
        </p15:guide>
        <p15:guide id="44" pos="4417" userDrawn="1">
          <p15:clr>
            <a:srgbClr val="A4A3A4"/>
          </p15:clr>
        </p15:guide>
        <p15:guide id="45" pos="4616" userDrawn="1">
          <p15:clr>
            <a:srgbClr val="A4A3A4"/>
          </p15:clr>
        </p15:guide>
        <p15:guide id="46" pos="5615" userDrawn="1">
          <p15:clr>
            <a:srgbClr val="A4A3A4"/>
          </p15:clr>
        </p15:guide>
        <p15:guide id="47" pos="5216" userDrawn="1">
          <p15:clr>
            <a:srgbClr val="A4A3A4"/>
          </p15:clr>
        </p15:guide>
        <p15:guide id="48" pos="5016" userDrawn="1">
          <p15:clr>
            <a:srgbClr val="A4A3A4"/>
          </p15:clr>
        </p15:guide>
        <p15:guide id="49" pos="5814" userDrawn="1">
          <p15:clr>
            <a:srgbClr val="A4A3A4"/>
          </p15:clr>
        </p15:guide>
        <p15:guide id="50" pos="6214" userDrawn="1">
          <p15:clr>
            <a:srgbClr val="A4A3A4"/>
          </p15:clr>
        </p15:guide>
        <p15:guide id="51" pos="6414" userDrawn="1">
          <p15:clr>
            <a:srgbClr val="A4A3A4"/>
          </p15:clr>
        </p15:guide>
        <p15:guide id="52" pos="6814" userDrawn="1">
          <p15:clr>
            <a:srgbClr val="A4A3A4"/>
          </p15:clr>
        </p15:guide>
        <p15:guide id="53" pos="7014" userDrawn="1">
          <p15:clr>
            <a:srgbClr val="A4A3A4"/>
          </p15:clr>
        </p15:guide>
        <p15:guide id="54" pos="7413" userDrawn="1">
          <p15:clr>
            <a:srgbClr val="547EBF"/>
          </p15:clr>
        </p15:guide>
        <p15:guide id="55" orient="horz" pos="4001" userDrawn="1">
          <p15:clr>
            <a:srgbClr val="547EBF"/>
          </p15:clr>
        </p15:guide>
        <p15:guide id="56" orient="horz" pos="805" userDrawn="1">
          <p15:clr>
            <a:srgbClr val="547EBF"/>
          </p15:clr>
        </p15:guide>
        <p15:guide id="57" orient="horz" pos="206" userDrawn="1">
          <p15:clr>
            <a:srgbClr val="547EBF"/>
          </p15:clr>
        </p15:guide>
        <p15:guide id="58" orient="horz" pos="505" userDrawn="1">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21" userDrawn="1">
          <p15:clr>
            <a:srgbClr val="547EBF"/>
          </p15:clr>
        </p15:guide>
        <p15:guide id="31" orient="horz" pos="905" userDrawn="1">
          <p15:clr>
            <a:srgbClr val="547EBF"/>
          </p15:clr>
        </p15:guide>
        <p15:guide id="32" orient="horz" pos="805" userDrawn="1">
          <p15:clr>
            <a:srgbClr val="547EBF"/>
          </p15:clr>
        </p15:guide>
        <p15:guide id="33" orient="horz" pos="505" userDrawn="1">
          <p15:clr>
            <a:srgbClr val="547EBF"/>
          </p15:clr>
        </p15:guide>
        <p15:guide id="34" orient="horz" pos="206" userDrawn="1">
          <p15:clr>
            <a:srgbClr val="547EBF"/>
          </p15:clr>
        </p15:guide>
        <p15:guide id="35" orient="horz" pos="4001" userDrawn="1">
          <p15:clr>
            <a:srgbClr val="547EBF"/>
          </p15:clr>
        </p15:guide>
        <p15:guide id="36" pos="820" userDrawn="1">
          <p15:clr>
            <a:srgbClr val="A4A3A4"/>
          </p15:clr>
        </p15:guide>
        <p15:guide id="37" pos="1020" userDrawn="1">
          <p15:clr>
            <a:srgbClr val="A4A3A4"/>
          </p15:clr>
        </p15:guide>
        <p15:guide id="38" pos="1420" userDrawn="1">
          <p15:clr>
            <a:srgbClr val="A4A3A4"/>
          </p15:clr>
        </p15:guide>
        <p15:guide id="39" pos="1620" userDrawn="1">
          <p15:clr>
            <a:srgbClr val="A4A3A4"/>
          </p15:clr>
        </p15:guide>
        <p15:guide id="40" pos="2020" userDrawn="1">
          <p15:clr>
            <a:srgbClr val="A4A3A4"/>
          </p15:clr>
        </p15:guide>
        <p15:guide id="41" pos="2219" userDrawn="1">
          <p15:clr>
            <a:srgbClr val="A4A3A4"/>
          </p15:clr>
        </p15:guide>
        <p15:guide id="42" pos="2618" userDrawn="1">
          <p15:clr>
            <a:srgbClr val="A4A3A4"/>
          </p15:clr>
        </p15:guide>
        <p15:guide id="43" pos="2818" userDrawn="1">
          <p15:clr>
            <a:srgbClr val="A4A3A4"/>
          </p15:clr>
        </p15:guide>
        <p15:guide id="44" pos="3218" userDrawn="1">
          <p15:clr>
            <a:srgbClr val="A4A3A4"/>
          </p15:clr>
        </p15:guide>
        <p15:guide id="45" pos="3417" userDrawn="1">
          <p15:clr>
            <a:srgbClr val="A4A3A4"/>
          </p15:clr>
        </p15:guide>
        <p15:guide id="46" pos="3817" userDrawn="1">
          <p15:clr>
            <a:srgbClr val="547EBF"/>
          </p15:clr>
        </p15:guide>
        <p15:guide id="47" pos="4017" userDrawn="1">
          <p15:clr>
            <a:srgbClr val="547EBF"/>
          </p15:clr>
        </p15:guide>
        <p15:guide id="48" pos="4417" userDrawn="1">
          <p15:clr>
            <a:srgbClr val="A4A3A4"/>
          </p15:clr>
        </p15:guide>
        <p15:guide id="49" pos="4616" userDrawn="1">
          <p15:clr>
            <a:srgbClr val="A4A3A4"/>
          </p15:clr>
        </p15:guide>
        <p15:guide id="50" pos="5216" userDrawn="1">
          <p15:clr>
            <a:srgbClr val="A4A3A4"/>
          </p15:clr>
        </p15:guide>
        <p15:guide id="51" pos="5016" userDrawn="1">
          <p15:clr>
            <a:srgbClr val="A4A3A4"/>
          </p15:clr>
        </p15:guide>
        <p15:guide id="52" pos="5615" userDrawn="1">
          <p15:clr>
            <a:srgbClr val="A4A3A4"/>
          </p15:clr>
        </p15:guide>
        <p15:guide id="53" pos="5814" userDrawn="1">
          <p15:clr>
            <a:srgbClr val="A4A3A4"/>
          </p15:clr>
        </p15:guide>
        <p15:guide id="54" pos="6214" userDrawn="1">
          <p15:clr>
            <a:srgbClr val="A4A3A4"/>
          </p15:clr>
        </p15:guide>
        <p15:guide id="55" pos="6414" userDrawn="1">
          <p15:clr>
            <a:srgbClr val="A4A3A4"/>
          </p15:clr>
        </p15:guide>
        <p15:guide id="56" pos="6814" userDrawn="1">
          <p15:clr>
            <a:srgbClr val="A4A3A4"/>
          </p15:clr>
        </p15:guide>
        <p15:guide id="57" pos="7014" userDrawn="1">
          <p15:clr>
            <a:srgbClr val="A4A3A4"/>
          </p15:clr>
        </p15:guide>
        <p15:guide id="58" pos="7413" userDrawn="1">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7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21" userDrawn="1">
          <p15:clr>
            <a:srgbClr val="FFFFFF"/>
          </p15:clr>
        </p15:guide>
        <p15:guide id="7" orient="horz" pos="2303" userDrawn="1">
          <p15:clr>
            <a:srgbClr val="FFFFFF"/>
          </p15:clr>
        </p15:guide>
        <p15:guide id="8" orient="horz" pos="2203" userDrawn="1">
          <p15:clr>
            <a:srgbClr val="FFFFFF"/>
          </p15:clr>
        </p15:guide>
        <p15:guide id="9" orient="horz" pos="1903" userDrawn="1">
          <p15:clr>
            <a:srgbClr val="FFFFFF"/>
          </p15:clr>
        </p15:guide>
        <p15:guide id="10" pos="6214" userDrawn="1">
          <p15:clr>
            <a:srgbClr val="FFFFF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7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21" userDrawn="1">
          <p15:clr>
            <a:srgbClr val="FFFFFF"/>
          </p15:clr>
        </p15:guide>
        <p15:guide id="7" orient="horz" pos="2303" userDrawn="1">
          <p15:clr>
            <a:srgbClr val="FFFFFF"/>
          </p15:clr>
        </p15:guide>
        <p15:guide id="8" orient="horz" pos="2203" userDrawn="1">
          <p15:clr>
            <a:srgbClr val="FFFFFF"/>
          </p15:clr>
        </p15:guide>
        <p15:guide id="9" orient="horz" pos="1903" userDrawn="1">
          <p15:clr>
            <a:srgbClr val="FFFFFF"/>
          </p15:clr>
        </p15:guide>
        <p15:guide id="10" pos="6214" userDrawn="1">
          <p15:clr>
            <a:srgbClr val="FFFFF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700" baseline="0" dirty="0"/>
            </a:lvl1pPr>
          </a:lstStyle>
          <a:p>
            <a:pPr lvl="0"/>
            <a:r>
              <a:rPr lang="en-US" noProof="0"/>
              <a:t>Click to edit Master title style</a:t>
            </a:r>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21" userDrawn="1">
          <p15:clr>
            <a:srgbClr val="547EBF"/>
          </p15:clr>
        </p15:guide>
        <p15:guide id="7" pos="6214" userDrawn="1">
          <p15:clr>
            <a:srgbClr val="547EBF"/>
          </p15:clr>
        </p15:guide>
        <p15:guide id="8" orient="horz" pos="2203" userDrawn="1">
          <p15:clr>
            <a:srgbClr val="547EBF"/>
          </p15:clr>
        </p15:guide>
        <p15:guide id="9" orient="horz" pos="2303" userDrawn="1">
          <p15:clr>
            <a:srgbClr val="547EBF"/>
          </p15:clr>
        </p15:guide>
        <p15:guide id="10" orient="horz" pos="1903" userDrawn="1">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436475" cy="6994525"/>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7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206979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68784" y="642784"/>
            <a:ext cx="4440211" cy="2543610"/>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68461" y="3655805"/>
            <a:ext cx="4440210" cy="2695807"/>
          </a:xfrm>
          <a:prstGeom prst="rect">
            <a:avLst/>
          </a:prstGeom>
        </p:spPr>
        <p:txBody>
          <a:bodyPr>
            <a:noAutofit/>
          </a:bodyPr>
          <a:lstStyle>
            <a:lvl1pPr marL="0" indent="0">
              <a:buNone/>
              <a:defRPr sz="240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958"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2003" userDrawn="1">
          <p15:clr>
            <a:srgbClr val="547EBF"/>
          </p15:clr>
        </p15:guide>
        <p15:guide id="18" orient="horz" pos="2303" userDrawn="1">
          <p15:clr>
            <a:srgbClr val="547EBF"/>
          </p15:clr>
        </p15:guide>
        <p15:guide id="19" pos="3417" userDrawn="1">
          <p15:clr>
            <a:srgbClr val="547EBF"/>
          </p15:clr>
        </p15:guide>
        <p15:guide id="20" pos="3218" userDrawn="1">
          <p15:clr>
            <a:srgbClr val="547EBF"/>
          </p15:clr>
        </p15:guide>
        <p15:guide id="21" pos="421" userDrawn="1">
          <p15:clr>
            <a:srgbClr val="547EBF"/>
          </p15:clr>
        </p15:guide>
        <p15:guide id="22" orient="horz" pos="405" userDrawn="1">
          <p15:clr>
            <a:srgbClr val="547EBF"/>
          </p15:clr>
        </p15:guide>
        <p15:guide id="23" orient="horz" pos="4001" userDrawn="1">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81" userDrawn="1">
          <p15:clr>
            <a:srgbClr val="547EBF"/>
          </p15:clr>
        </p15:guide>
        <p15:guide id="18" orient="horz" pos="2303" userDrawn="1">
          <p15:clr>
            <a:srgbClr val="547EBF"/>
          </p15:clr>
        </p15:guide>
        <p15:guide id="19" pos="3417" userDrawn="1">
          <p15:clr>
            <a:srgbClr val="547EBF"/>
          </p15:clr>
        </p15:guide>
        <p15:guide id="20" pos="3218" userDrawn="1">
          <p15:clr>
            <a:srgbClr val="547EBF"/>
          </p15:clr>
        </p15:guide>
        <p15:guide id="21" pos="421" userDrawn="1">
          <p15:clr>
            <a:srgbClr val="547EBF"/>
          </p15:clr>
        </p15:guide>
        <p15:guide id="22" orient="horz" pos="405" userDrawn="1">
          <p15:clr>
            <a:srgbClr val="547EBF"/>
          </p15:clr>
        </p15:guide>
        <p15:guide id="23" orient="horz" pos="4001" userDrawn="1">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68785" y="802038"/>
            <a:ext cx="4440211"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81" userDrawn="1">
          <p15:clr>
            <a:srgbClr val="547EBF"/>
          </p15:clr>
        </p15:guide>
        <p15:guide id="18" orient="horz" pos="2303" userDrawn="1">
          <p15:clr>
            <a:srgbClr val="547EBF"/>
          </p15:clr>
        </p15:guide>
        <p15:guide id="19" pos="3417" userDrawn="1">
          <p15:clr>
            <a:srgbClr val="547EBF"/>
          </p15:clr>
        </p15:guide>
        <p15:guide id="20" pos="3218" userDrawn="1">
          <p15:clr>
            <a:srgbClr val="547EBF"/>
          </p15:clr>
        </p15:guide>
        <p15:guide id="21" pos="421" userDrawn="1">
          <p15:clr>
            <a:srgbClr val="547EBF"/>
          </p15:clr>
        </p15:guide>
        <p15:guide id="22" orient="horz" pos="405" userDrawn="1">
          <p15:clr>
            <a:srgbClr val="547EBF"/>
          </p15:clr>
        </p15:guide>
        <p15:guide id="23" orient="horz" pos="4001" userDrawn="1">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68784" y="-470855"/>
            <a:ext cx="4440211" cy="470856"/>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68786" y="642784"/>
            <a:ext cx="4440210" cy="5708957"/>
          </a:xfrm>
          <a:prstGeom prst="rect">
            <a:avLst/>
          </a:prstGeom>
        </p:spPr>
        <p:txBody>
          <a:bodyPr vert="horz" lIns="0" tIns="0" rIns="0" bIns="0" rtlCol="0">
            <a:normAutofit/>
          </a:bodyPr>
          <a:lstStyle>
            <a:lvl1pPr marL="0" indent="0">
              <a:buNone/>
              <a:defRPr sz="2400"/>
            </a:lvl1pPr>
            <a:lvl2pPr marL="317083" indent="0">
              <a:buNone/>
              <a:defRPr/>
            </a:lvl2pPr>
            <a:lvl3pPr marL="634166" indent="0">
              <a:buNone/>
              <a:defRPr/>
            </a:lvl3pPr>
            <a:lvl4pPr marL="951248" indent="0">
              <a:buNone/>
              <a:defRPr/>
            </a:lvl4pPr>
            <a:lvl5pPr marL="1249679"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405" userDrawn="1">
          <p15:clr>
            <a:srgbClr val="547EBF"/>
          </p15:clr>
        </p15:guide>
        <p15:guide id="11" pos="3218" userDrawn="1">
          <p15:clr>
            <a:srgbClr val="547EBF"/>
          </p15:clr>
        </p15:guide>
        <p15:guide id="12" pos="3417" userDrawn="1">
          <p15:clr>
            <a:srgbClr val="547EBF"/>
          </p15:clr>
        </p15:guide>
        <p15:guide id="13" pos="421" userDrawn="1">
          <p15:clr>
            <a:srgbClr val="547EBF"/>
          </p15:clr>
        </p15:guide>
        <p15:guide id="14" orient="horz" pos="4001" userDrawn="1">
          <p15:clr>
            <a:srgbClr val="547EB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68785" y="3039057"/>
            <a:ext cx="4440210" cy="3312685"/>
          </a:xfrm>
        </p:spPr>
        <p:txBody>
          <a:bodyPr anchor="t">
            <a:noAutofit/>
          </a:bodyPr>
          <a:lstStyle>
            <a:lvl1pPr>
              <a:defRPr sz="29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914" userDrawn="1">
          <p15:clr>
            <a:srgbClr val="547EBF"/>
          </p15:clr>
        </p15:guide>
        <p15:guide id="9" orient="horz" pos="4001" userDrawn="1">
          <p15:clr>
            <a:srgbClr val="547EBF"/>
          </p15:clr>
        </p15:guide>
        <p15:guide id="10" pos="3417" userDrawn="1">
          <p15:clr>
            <a:srgbClr val="547EBF"/>
          </p15:clr>
        </p15:guide>
        <p15:guide id="11" pos="3218" userDrawn="1">
          <p15:clr>
            <a:srgbClr val="547EBF"/>
          </p15:clr>
        </p15:guide>
        <p15:guide id="12" pos="421" userDrawn="1">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68785" y="5082366"/>
            <a:ext cx="11098907" cy="1269376"/>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151" cy="4765021"/>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3002" userDrawn="1">
          <p15:clr>
            <a:srgbClr val="547EBF"/>
          </p15:clr>
        </p15:guide>
        <p15:guide id="11" orient="horz" pos="4001" userDrawn="1">
          <p15:clr>
            <a:srgbClr val="547EBF"/>
          </p15:clr>
        </p15:guide>
        <p15:guide id="12" orient="horz" pos="3201" userDrawn="1">
          <p15:clr>
            <a:srgbClr val="547EBF"/>
          </p15:clr>
        </p15:guide>
        <p15:guide id="13" pos="421" userDrawn="1">
          <p15:clr>
            <a:srgbClr val="547EBF"/>
          </p15:clr>
        </p15:guide>
        <p15:guide id="14" pos="7413" userDrawn="1">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69107" y="642460"/>
            <a:ext cx="11098907" cy="1269377"/>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70834"/>
            <a:ext cx="12436151" cy="4923691"/>
          </a:xfrm>
          <a:solidFill>
            <a:srgbClr val="243A5E"/>
          </a:solidFill>
        </p:spPr>
        <p:txBody>
          <a:bodyPr tIns="1005840" anchor="t">
            <a:noAutofit/>
          </a:bodyPr>
          <a:lstStyle>
            <a:lvl1pPr marL="0" marR="0" indent="0" algn="ctr" defTabSz="95124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304" userDrawn="1">
          <p15:clr>
            <a:srgbClr val="547EBF"/>
          </p15:clr>
        </p15:guide>
        <p15:guide id="11" orient="horz" pos="405" userDrawn="1">
          <p15:clr>
            <a:srgbClr val="547EBF"/>
          </p15:clr>
        </p15:guide>
        <p15:guide id="12" orient="horz" pos="1205" userDrawn="1">
          <p15:clr>
            <a:srgbClr val="547EBF"/>
          </p15:clr>
        </p15:guide>
        <p15:guide id="13" pos="421" userDrawn="1">
          <p15:clr>
            <a:srgbClr val="547EBF"/>
          </p15:clr>
        </p15:guide>
        <p15:guide id="14" pos="7413" userDrawn="1">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501" userDrawn="1">
          <p15:clr>
            <a:srgbClr val="547EBF"/>
          </p15:clr>
        </p15:guide>
        <p15:guide id="16" orient="horz" pos="1301" userDrawn="1">
          <p15:clr>
            <a:srgbClr val="547EBF"/>
          </p15:clr>
        </p15:guide>
        <p15:guide id="17" pos="3824" userDrawn="1">
          <p15:clr>
            <a:srgbClr val="547EBF"/>
          </p15:clr>
        </p15:guide>
        <p15:guide id="18" pos="4010" userDrawn="1">
          <p15:clr>
            <a:srgbClr val="547EBF"/>
          </p15:clr>
        </p15:guide>
        <p15:guide id="19" orient="horz" pos="3601" userDrawn="1">
          <p15:clr>
            <a:srgbClr val="547EBF"/>
          </p15:clr>
        </p15:guide>
        <p15:guide id="20" orient="horz" pos="4001" userDrawn="1">
          <p15:clr>
            <a:srgbClr val="547EBF"/>
          </p15:clr>
        </p15:guide>
        <p15:guide id="21" pos="421" userDrawn="1">
          <p15:clr>
            <a:srgbClr val="547EBF"/>
          </p15:clr>
        </p15:guide>
        <p15:guide id="22" pos="7413" userDrawn="1">
          <p15:clr>
            <a:srgbClr val="547EBF"/>
          </p15:clr>
        </p15:guide>
        <p15:guide id="23" orient="horz" pos="206" userDrawn="1">
          <p15:clr>
            <a:srgbClr val="547EBF"/>
          </p15:clr>
        </p15:guide>
        <p15:guide id="24" orient="horz" pos="505" userDrawn="1">
          <p15:clr>
            <a:srgbClr val="547EBF"/>
          </p15:clr>
        </p15:guide>
        <p15:guide id="25" orient="horz" pos="805" userDrawn="1">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501" userDrawn="1">
          <p15:clr>
            <a:srgbClr val="547EBF"/>
          </p15:clr>
        </p15:guide>
        <p15:guide id="16" orient="horz" pos="1301" userDrawn="1">
          <p15:clr>
            <a:srgbClr val="547EBF"/>
          </p15:clr>
        </p15:guide>
        <p15:guide id="17" pos="3824" userDrawn="1">
          <p15:clr>
            <a:srgbClr val="547EBF"/>
          </p15:clr>
        </p15:guide>
        <p15:guide id="18" pos="4010" userDrawn="1">
          <p15:clr>
            <a:srgbClr val="547EBF"/>
          </p15:clr>
        </p15:guide>
        <p15:guide id="19" orient="horz" pos="3601" userDrawn="1">
          <p15:clr>
            <a:srgbClr val="547EBF"/>
          </p15:clr>
        </p15:guide>
        <p15:guide id="20" orient="horz" pos="4001" userDrawn="1">
          <p15:clr>
            <a:srgbClr val="547EBF"/>
          </p15:clr>
        </p15:guide>
        <p15:guide id="21" pos="421" userDrawn="1">
          <p15:clr>
            <a:srgbClr val="547EBF"/>
          </p15:clr>
        </p15:guide>
        <p15:guide id="22" pos="7413" userDrawn="1">
          <p15:clr>
            <a:srgbClr val="547EBF"/>
          </p15:clr>
        </p15:guide>
        <p15:guide id="23" orient="horz" pos="206" userDrawn="1">
          <p15:clr>
            <a:srgbClr val="547EBF"/>
          </p15:clr>
        </p15:guide>
        <p15:guide id="24" orient="horz" pos="505" userDrawn="1">
          <p15:clr>
            <a:srgbClr val="547EBF"/>
          </p15:clr>
        </p15:guide>
        <p15:guide id="25" orient="horz" pos="805" userDrawn="1">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601" userDrawn="1">
          <p15:clr>
            <a:srgbClr val="547EBF"/>
          </p15:clr>
        </p15:guide>
        <p15:guide id="22" orient="horz" pos="1304" userDrawn="1">
          <p15:clr>
            <a:srgbClr val="547EBF"/>
          </p15:clr>
        </p15:guide>
        <p15:guide id="23" orient="horz" pos="3501" userDrawn="1">
          <p15:clr>
            <a:srgbClr val="547EBF"/>
          </p15:clr>
        </p15:guide>
        <p15:guide id="24" orient="horz" pos="206" userDrawn="1">
          <p15:clr>
            <a:srgbClr val="547EBF"/>
          </p15:clr>
        </p15:guide>
        <p15:guide id="25" orient="horz" pos="505" userDrawn="1">
          <p15:clr>
            <a:srgbClr val="547EBF"/>
          </p15:clr>
        </p15:guide>
        <p15:guide id="26" orient="horz" pos="805" userDrawn="1">
          <p15:clr>
            <a:srgbClr val="547EBF"/>
          </p15:clr>
        </p15:guide>
        <p15:guide id="27" pos="421" userDrawn="1">
          <p15:clr>
            <a:srgbClr val="547EBF"/>
          </p15:clr>
        </p15:guide>
        <p15:guide id="28" pos="7413" userDrawn="1">
          <p15:clr>
            <a:srgbClr val="547EBF"/>
          </p15:clr>
        </p15:guide>
        <p15:guide id="29" orient="horz" pos="4001" userDrawn="1">
          <p15:clr>
            <a:srgbClr val="547EBF"/>
          </p15:clr>
        </p15:guide>
        <p15:guide id="30" pos="2618" userDrawn="1">
          <p15:clr>
            <a:srgbClr val="547EBF"/>
          </p15:clr>
        </p15:guide>
        <p15:guide id="31" pos="2818" userDrawn="1">
          <p15:clr>
            <a:srgbClr val="547EBF"/>
          </p15:clr>
        </p15:guide>
        <p15:guide id="32" pos="5016" userDrawn="1">
          <p15:clr>
            <a:srgbClr val="547EBF"/>
          </p15:clr>
        </p15:guide>
        <p15:guide id="33" pos="5216" userDrawn="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601" userDrawn="1">
          <p15:clr>
            <a:srgbClr val="547EBF"/>
          </p15:clr>
        </p15:guide>
        <p15:guide id="22" orient="horz" pos="1304" userDrawn="1">
          <p15:clr>
            <a:srgbClr val="547EBF"/>
          </p15:clr>
        </p15:guide>
        <p15:guide id="23" orient="horz" pos="3501" userDrawn="1">
          <p15:clr>
            <a:srgbClr val="547EBF"/>
          </p15:clr>
        </p15:guide>
        <p15:guide id="24" orient="horz" pos="206" userDrawn="1">
          <p15:clr>
            <a:srgbClr val="547EBF"/>
          </p15:clr>
        </p15:guide>
        <p15:guide id="25" orient="horz" pos="505" userDrawn="1">
          <p15:clr>
            <a:srgbClr val="547EBF"/>
          </p15:clr>
        </p15:guide>
        <p15:guide id="26" orient="horz" pos="805" userDrawn="1">
          <p15:clr>
            <a:srgbClr val="547EBF"/>
          </p15:clr>
        </p15:guide>
        <p15:guide id="27" pos="421" userDrawn="1">
          <p15:clr>
            <a:srgbClr val="547EBF"/>
          </p15:clr>
        </p15:guide>
        <p15:guide id="28" pos="7413" userDrawn="1">
          <p15:clr>
            <a:srgbClr val="547EBF"/>
          </p15:clr>
        </p15:guide>
        <p15:guide id="29" orient="horz" pos="4001" userDrawn="1">
          <p15:clr>
            <a:srgbClr val="547EBF"/>
          </p15:clr>
        </p15:guide>
        <p15:guide id="30" pos="2618" userDrawn="1">
          <p15:clr>
            <a:srgbClr val="547EBF"/>
          </p15:clr>
        </p15:guide>
        <p15:guide id="31" pos="2818" userDrawn="1">
          <p15:clr>
            <a:srgbClr val="547EBF"/>
          </p15:clr>
        </p15:guide>
        <p15:guide id="32" pos="5016" userDrawn="1">
          <p15:clr>
            <a:srgbClr val="547EBF"/>
          </p15:clr>
        </p15:guide>
        <p15:guide id="33" pos="5216" userDrawn="1">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3002" userDrawn="1">
          <p15:clr>
            <a:srgbClr val="547EBF"/>
          </p15:clr>
        </p15:guide>
        <p15:guide id="19" orient="horz" pos="1304" userDrawn="1">
          <p15:clr>
            <a:srgbClr val="547EBF"/>
          </p15:clr>
        </p15:guide>
        <p15:guide id="20" orient="horz" pos="2902" userDrawn="1">
          <p15:clr>
            <a:srgbClr val="547EBF"/>
          </p15:clr>
        </p15:guide>
        <p15:guide id="21" orient="horz" pos="4014" userDrawn="1">
          <p15:clr>
            <a:srgbClr val="547EBF"/>
          </p15:clr>
        </p15:guide>
        <p15:guide id="22" orient="horz" pos="206" userDrawn="1">
          <p15:clr>
            <a:srgbClr val="547EBF"/>
          </p15:clr>
        </p15:guide>
        <p15:guide id="23" orient="horz" pos="505" userDrawn="1">
          <p15:clr>
            <a:srgbClr val="547EBF"/>
          </p15:clr>
        </p15:guide>
        <p15:guide id="24" orient="horz" pos="805" userDrawn="1">
          <p15:clr>
            <a:srgbClr val="547EBF"/>
          </p15:clr>
        </p15:guide>
        <p15:guide id="25" pos="421" userDrawn="1">
          <p15:clr>
            <a:srgbClr val="547EBF"/>
          </p15:clr>
        </p15:guide>
        <p15:guide id="26" pos="7413" userDrawn="1">
          <p15:clr>
            <a:srgbClr val="547EBF"/>
          </p15:clr>
        </p15:guide>
        <p15:guide id="27" pos="2020" userDrawn="1">
          <p15:clr>
            <a:srgbClr val="547EBF"/>
          </p15:clr>
        </p15:guide>
        <p15:guide id="28" pos="2219" userDrawn="1">
          <p15:clr>
            <a:srgbClr val="547EBF"/>
          </p15:clr>
        </p15:guide>
        <p15:guide id="29" pos="3817" userDrawn="1">
          <p15:clr>
            <a:srgbClr val="547EBF"/>
          </p15:clr>
        </p15:guide>
        <p15:guide id="30" pos="4017" userDrawn="1">
          <p15:clr>
            <a:srgbClr val="547EBF"/>
          </p15:clr>
        </p15:guide>
        <p15:guide id="31" pos="5814" userDrawn="1">
          <p15:clr>
            <a:srgbClr val="547EBF"/>
          </p15:clr>
        </p15:guide>
        <p15:guide id="32" pos="5615" userDrawn="1">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3002" userDrawn="1">
          <p15:clr>
            <a:srgbClr val="547EBF"/>
          </p15:clr>
        </p15:guide>
        <p15:guide id="19" orient="horz" pos="1304" userDrawn="1">
          <p15:clr>
            <a:srgbClr val="547EBF"/>
          </p15:clr>
        </p15:guide>
        <p15:guide id="20" orient="horz" pos="2902" userDrawn="1">
          <p15:clr>
            <a:srgbClr val="547EBF"/>
          </p15:clr>
        </p15:guide>
        <p15:guide id="21" orient="horz" pos="4014" userDrawn="1">
          <p15:clr>
            <a:srgbClr val="547EBF"/>
          </p15:clr>
        </p15:guide>
        <p15:guide id="22" orient="horz" pos="206" userDrawn="1">
          <p15:clr>
            <a:srgbClr val="547EBF"/>
          </p15:clr>
        </p15:guide>
        <p15:guide id="23" orient="horz" pos="505" userDrawn="1">
          <p15:clr>
            <a:srgbClr val="547EBF"/>
          </p15:clr>
        </p15:guide>
        <p15:guide id="24" orient="horz" pos="805" userDrawn="1">
          <p15:clr>
            <a:srgbClr val="547EBF"/>
          </p15:clr>
        </p15:guide>
        <p15:guide id="25" pos="421" userDrawn="1">
          <p15:clr>
            <a:srgbClr val="547EBF"/>
          </p15:clr>
        </p15:guide>
        <p15:guide id="26" pos="7413" userDrawn="1">
          <p15:clr>
            <a:srgbClr val="547EBF"/>
          </p15:clr>
        </p15:guide>
        <p15:guide id="27" pos="2020" userDrawn="1">
          <p15:clr>
            <a:srgbClr val="547EBF"/>
          </p15:clr>
        </p15:guide>
        <p15:guide id="28" pos="2219" userDrawn="1">
          <p15:clr>
            <a:srgbClr val="547EBF"/>
          </p15:clr>
        </p15:guide>
        <p15:guide id="29" pos="3817" userDrawn="1">
          <p15:clr>
            <a:srgbClr val="547EBF"/>
          </p15:clr>
        </p15:guide>
        <p15:guide id="30" pos="4017" userDrawn="1">
          <p15:clr>
            <a:srgbClr val="547EBF"/>
          </p15:clr>
        </p15:guide>
        <p15:guide id="31" pos="5814" userDrawn="1">
          <p15:clr>
            <a:srgbClr val="547EBF"/>
          </p15:clr>
        </p15:guide>
        <p15:guide id="32" pos="5615" userDrawn="1">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278029" y="1465290"/>
            <a:ext cx="3489661" cy="49285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71624" indent="-171624">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5043" userDrawn="1">
          <p15:clr>
            <a:srgbClr val="5ACBF0"/>
          </p15:clr>
        </p15:guide>
        <p15:guide id="21" pos="5215" userDrawn="1">
          <p15:clr>
            <a:srgbClr val="5ACBF0"/>
          </p15:clr>
        </p15:guide>
        <p15:guide id="28" orient="horz" pos="923" userDrawn="1">
          <p15:clr>
            <a:srgbClr val="5ACBF0"/>
          </p15:clr>
        </p15:guide>
        <p15:guide id="29" orient="horz" pos="1296" userDrawn="1">
          <p15:clr>
            <a:srgbClr val="5ACBF0"/>
          </p15:clr>
        </p15:guide>
        <p15:guide id="30" orient="horz" pos="294" userDrawn="1">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278029" y="1465290"/>
            <a:ext cx="3489661" cy="49285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71624" indent="-171624">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5043" userDrawn="1">
          <p15:clr>
            <a:srgbClr val="5ACBF0"/>
          </p15:clr>
        </p15:guide>
        <p15:guide id="21" pos="5215" userDrawn="1">
          <p15:clr>
            <a:srgbClr val="5ACBF0"/>
          </p15:clr>
        </p15:guide>
        <p15:guide id="28" orient="horz" pos="923" userDrawn="1">
          <p15:clr>
            <a:srgbClr val="5ACBF0"/>
          </p15:clr>
        </p15:guide>
        <p15:guide id="29" orient="horz" pos="1296" userDrawn="1">
          <p15:clr>
            <a:srgbClr val="5ACBF0"/>
          </p15:clr>
        </p15:guide>
        <p15:guide id="30" orient="horz" pos="294" userDrawn="1">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68786" y="326411"/>
            <a:ext cx="6870828" cy="470856"/>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68784" y="802038"/>
            <a:ext cx="6870829"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772797" y="0"/>
            <a:ext cx="4663678" cy="6994525"/>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51028"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68785" y="1424812"/>
            <a:ext cx="6870827" cy="4947979"/>
          </a:xfrm>
        </p:spPr>
        <p:txBody>
          <a:bodyPr/>
          <a:lstStyle>
            <a:lvl1pPr marL="0" indent="0">
              <a:buNone/>
              <a:defRPr sz="2400">
                <a:latin typeface="Segoe UI Semibold" panose="020B0702040204020203" pitchFamily="34" charset="0"/>
                <a:cs typeface="Segoe UI Semibold" panose="020B0702040204020203" pitchFamily="34" charset="0"/>
              </a:defRPr>
            </a:lvl1pPr>
            <a:lvl2pPr marL="641160" indent="-349724">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4014" userDrawn="1">
          <p15:clr>
            <a:srgbClr val="547EBF"/>
          </p15:clr>
        </p15:guide>
        <p15:guide id="37" pos="2424" userDrawn="1">
          <p15:clr>
            <a:srgbClr val="FFFFFF"/>
          </p15:clr>
        </p15:guide>
        <p15:guide id="38" orient="horz" pos="898" userDrawn="1">
          <p15:clr>
            <a:srgbClr val="547EBF"/>
          </p15:clr>
        </p15:guide>
        <p15:guide id="39" pos="4749" userDrawn="1">
          <p15:clr>
            <a:srgbClr val="547EBF"/>
          </p15:clr>
        </p15:guide>
        <p15:guide id="40" pos="7413" userDrawn="1">
          <p15:clr>
            <a:srgbClr val="547EBF"/>
          </p15:clr>
        </p15:guide>
        <p15:guide id="41" pos="2818" userDrawn="1">
          <p15:clr>
            <a:srgbClr val="547EBF"/>
          </p15:clr>
        </p15:guide>
        <p15:guide id="42" pos="421" userDrawn="1">
          <p15:clr>
            <a:srgbClr val="FFFFFF"/>
          </p15:clr>
        </p15:guide>
        <p15:guide id="43" pos="4896"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68784" y="642785"/>
            <a:ext cx="3178751" cy="5708957"/>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4001" userDrawn="1">
          <p15:clr>
            <a:srgbClr val="547EBF"/>
          </p15:clr>
        </p15:guide>
        <p15:guide id="37" pos="2424" userDrawn="1">
          <p15:clr>
            <a:srgbClr val="FFFFFF"/>
          </p15:clr>
        </p15:guide>
        <p15:guide id="38" orient="horz" pos="405" userDrawn="1">
          <p15:clr>
            <a:srgbClr val="547EBF"/>
          </p15:clr>
        </p15:guide>
        <p15:guide id="39" pos="3218" userDrawn="1">
          <p15:clr>
            <a:srgbClr val="547EBF"/>
          </p15:clr>
        </p15:guide>
        <p15:guide id="40" pos="7413" userDrawn="1">
          <p15:clr>
            <a:srgbClr val="547EBF"/>
          </p15:clr>
        </p15:guide>
        <p15:guide id="41" pos="2818" userDrawn="1">
          <p15:clr>
            <a:srgbClr val="547EBF"/>
          </p15:clr>
        </p15:guide>
        <p15:guide id="42" pos="421" userDrawn="1">
          <p15:clr>
            <a:srgbClr val="FFFFF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68461" y="643496"/>
            <a:ext cx="3177105" cy="5708244"/>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47402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405" userDrawn="1">
          <p15:clr>
            <a:srgbClr val="547EBF"/>
          </p15:clr>
        </p15:guide>
        <p15:guide id="38" orient="horz" pos="4001" userDrawn="1">
          <p15:clr>
            <a:srgbClr val="547EBF"/>
          </p15:clr>
        </p15:guide>
        <p15:guide id="39" pos="2818" userDrawn="1">
          <p15:clr>
            <a:srgbClr val="547EBF"/>
          </p15:clr>
        </p15:guide>
        <p15:guide id="40" pos="421" userDrawn="1">
          <p15:clr>
            <a:srgbClr val="547EBF"/>
          </p15:clr>
        </p15:guide>
        <p15:guide id="41" pos="2419" userDrawn="1">
          <p15:clr>
            <a:srgbClr val="547EBF"/>
          </p15:clr>
        </p15:guide>
        <p15:guide id="42" pos="3218" userDrawn="1">
          <p15:clr>
            <a:srgbClr val="547EBF"/>
          </p15:clr>
        </p15:guide>
        <p15:guide id="43" pos="7413" userDrawn="1">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00" baseline="0">
                <a:solidFill>
                  <a:schemeClr val="tx1"/>
                </a:solidFill>
                <a:latin typeface="Comic Sans MS" panose="030F0702030302020204" pitchFamily="66" charset="0"/>
              </a:defRPr>
            </a:lvl6pPr>
            <a:lvl7pPr marL="1072486" indent="0">
              <a:spcBef>
                <a:spcPts val="337"/>
              </a:spcBef>
              <a:buFontTx/>
              <a:buNone/>
              <a:defRPr sz="1800" baseline="0">
                <a:solidFill>
                  <a:schemeClr val="tx1"/>
                </a:solidFill>
                <a:latin typeface="Comic Sans MS" panose="030F0702030302020204" pitchFamily="66" charset="0"/>
              </a:defRPr>
            </a:lvl7pPr>
            <a:lvl8pPr marL="1072486" indent="0">
              <a:spcBef>
                <a:spcPts val="337"/>
              </a:spcBef>
              <a:buFontTx/>
              <a:buNone/>
              <a:defRPr sz="1800" baseline="0">
                <a:solidFill>
                  <a:schemeClr val="tx1"/>
                </a:solidFill>
                <a:latin typeface="Comic Sans MS" panose="030F0702030302020204" pitchFamily="66" charset="0"/>
              </a:defRPr>
            </a:lvl8pPr>
            <a:lvl9pPr marL="1072486" indent="0">
              <a:spcBef>
                <a:spcPts val="337"/>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21" userDrawn="1">
          <p15:clr>
            <a:srgbClr val="547EBF"/>
          </p15:clr>
        </p15:guide>
        <p15:guide id="9" orient="horz" pos="505" userDrawn="1">
          <p15:clr>
            <a:srgbClr val="547EBF"/>
          </p15:clr>
        </p15:guide>
        <p15:guide id="10" pos="7413" userDrawn="1">
          <p15:clr>
            <a:srgbClr val="547EBF"/>
          </p15:clr>
        </p15:guide>
        <p15:guide id="11" orient="horz" pos="206" userDrawn="1">
          <p15:clr>
            <a:srgbClr val="547EBF"/>
          </p15:clr>
        </p15:guide>
        <p15:guide id="12" orient="horz" pos="805" userDrawn="1">
          <p15:clr>
            <a:srgbClr val="547EBF"/>
          </p15:clr>
        </p15:guide>
        <p15:guide id="13" orient="horz" pos="930" userDrawn="1">
          <p15:clr>
            <a:srgbClr val="547EBF"/>
          </p15:clr>
        </p15:guide>
        <p15:guide id="14" orient="horz" pos="4001" userDrawn="1">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00" baseline="0">
                <a:solidFill>
                  <a:schemeClr val="tx1"/>
                </a:solidFill>
                <a:latin typeface="Comic Sans MS" panose="030F0702030302020204" pitchFamily="66" charset="0"/>
              </a:defRPr>
            </a:lvl6pPr>
            <a:lvl7pPr marL="1072486" indent="0">
              <a:spcBef>
                <a:spcPts val="337"/>
              </a:spcBef>
              <a:buFontTx/>
              <a:buNone/>
              <a:defRPr sz="1800" baseline="0">
                <a:solidFill>
                  <a:schemeClr val="tx1"/>
                </a:solidFill>
                <a:latin typeface="Comic Sans MS" panose="030F0702030302020204" pitchFamily="66" charset="0"/>
              </a:defRPr>
            </a:lvl7pPr>
            <a:lvl8pPr marL="1072486" indent="0">
              <a:spcBef>
                <a:spcPts val="337"/>
              </a:spcBef>
              <a:buFontTx/>
              <a:buNone/>
              <a:defRPr sz="1800" baseline="0">
                <a:solidFill>
                  <a:schemeClr val="tx1"/>
                </a:solidFill>
                <a:latin typeface="Comic Sans MS" panose="030F0702030302020204" pitchFamily="66" charset="0"/>
              </a:defRPr>
            </a:lvl8pPr>
            <a:lvl9pPr marL="1072486" indent="0">
              <a:spcBef>
                <a:spcPts val="337"/>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21" userDrawn="1">
          <p15:clr>
            <a:srgbClr val="547EBF"/>
          </p15:clr>
        </p15:guide>
        <p15:guide id="9" orient="horz" pos="505" userDrawn="1">
          <p15:clr>
            <a:srgbClr val="547EBF"/>
          </p15:clr>
        </p15:guide>
        <p15:guide id="10" pos="7413" userDrawn="1">
          <p15:clr>
            <a:srgbClr val="547EBF"/>
          </p15:clr>
        </p15:guide>
        <p15:guide id="11" orient="horz" pos="206" userDrawn="1">
          <p15:clr>
            <a:srgbClr val="547EBF"/>
          </p15:clr>
        </p15:guide>
        <p15:guide id="12" orient="horz" pos="805" userDrawn="1">
          <p15:clr>
            <a:srgbClr val="547EBF"/>
          </p15:clr>
        </p15:guide>
        <p15:guide id="13" orient="horz" pos="930" userDrawn="1">
          <p15:clr>
            <a:srgbClr val="547EBF"/>
          </p15:clr>
        </p15:guide>
        <p15:guide id="14" orient="horz" pos="4001"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33185" y="369155"/>
            <a:ext cx="12047835" cy="3516692"/>
          </a:xfrm>
          <a:prstGeom prst="rect">
            <a:avLst/>
          </a:prstGeom>
        </p:spPr>
        <p:txBody>
          <a:bodyPr vert="horz" lIns="93247" tIns="46623" rIns="93247" bIns="4662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956" marR="0" indent="6476" algn="l" defTabSz="932597" rtl="0" eaLnBrk="1" latinLnBrk="0" hangingPunct="1">
              <a:lnSpc>
                <a:spcPct val="100000"/>
              </a:lnSpc>
              <a:spcBef>
                <a:spcPct val="20000"/>
              </a:spcBef>
              <a:spcAft>
                <a:spcPts val="306"/>
              </a:spcAft>
              <a:buSzPct val="100000"/>
              <a:buFont typeface="Arial" pitchFamily="34" charset="0"/>
              <a:buNone/>
            </a:pPr>
            <a:r>
              <a:rPr lang="en-US" sz="3300" b="1" kern="1200">
                <a:solidFill>
                  <a:srgbClr val="000000"/>
                </a:solidFill>
                <a:latin typeface="&amp;quot"/>
                <a:ea typeface="+mn-ea"/>
                <a:cs typeface="+mn-cs"/>
              </a:rPr>
              <a:t>CONDITIONS AND TERMS OF USE:</a:t>
            </a:r>
          </a:p>
          <a:p>
            <a:pPr marL="114956" marR="0" indent="6476" algn="l" defTabSz="932597" rtl="0" eaLnBrk="1" latinLnBrk="0" hangingPunct="1">
              <a:lnSpc>
                <a:spcPct val="100000"/>
              </a:lnSpc>
              <a:spcBef>
                <a:spcPct val="20000"/>
              </a:spcBef>
              <a:spcAft>
                <a:spcPts val="306"/>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4956" marR="0" indent="6476" algn="l" defTabSz="932597" rtl="0" eaLnBrk="1" latinLnBrk="0" hangingPunct="1">
              <a:lnSpc>
                <a:spcPct val="100000"/>
              </a:lnSpc>
              <a:spcBef>
                <a:spcPct val="20000"/>
              </a:spcBef>
              <a:spcAft>
                <a:spcPts val="306"/>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4956" marR="0" indent="6476" algn="l" defTabSz="932597" rtl="0" eaLnBrk="1" latinLnBrk="0" hangingPunct="1">
              <a:lnSpc>
                <a:spcPct val="100000"/>
              </a:lnSpc>
              <a:spcBef>
                <a:spcPct val="20000"/>
              </a:spcBef>
              <a:spcAft>
                <a:spcPts val="306"/>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68460" y="6241162"/>
            <a:ext cx="4572000" cy="109866"/>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68786" y="1465289"/>
            <a:ext cx="11098906" cy="49285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44508" indent="-167867">
              <a:spcBef>
                <a:spcPts val="337"/>
              </a:spcBef>
              <a:defRPr sz="1800" baseline="0"/>
            </a:lvl6pPr>
            <a:lvl7pPr marL="1044508" indent="-167867">
              <a:spcBef>
                <a:spcPts val="337"/>
              </a:spcBef>
              <a:defRPr sz="1800" baseline="0"/>
            </a:lvl7pPr>
            <a:lvl8pPr marL="1044508" indent="-167867">
              <a:spcBef>
                <a:spcPts val="337"/>
              </a:spcBef>
              <a:defRPr sz="1800" baseline="0"/>
            </a:lvl8pPr>
            <a:lvl9pPr marL="1044508" indent="-167867">
              <a:spcBef>
                <a:spcPts val="337"/>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800"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6" userDrawn="1">
          <p15:clr>
            <a:srgbClr val="FFFFFF"/>
          </p15:clr>
        </p15:guide>
        <p15:guide id="10" orient="horz" pos="505" userDrawn="1">
          <p15:clr>
            <a:srgbClr val="FFFFFF"/>
          </p15:clr>
        </p15:guide>
        <p15:guide id="11" orient="horz" pos="905" userDrawn="1">
          <p15:clr>
            <a:srgbClr val="FFFFFF"/>
          </p15:clr>
        </p15:guide>
        <p15:guide id="12" orient="horz" pos="4001" userDrawn="1">
          <p15:clr>
            <a:srgbClr val="FFFFFF"/>
          </p15:clr>
        </p15:guide>
        <p15:guide id="13" pos="421" userDrawn="1">
          <p15:clr>
            <a:srgbClr val="FFFFFF"/>
          </p15:clr>
        </p15:guide>
        <p15:guide id="14" pos="7413" userDrawn="1">
          <p15:clr>
            <a:srgbClr val="FFFF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theme" Target="../theme/theme2.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slideLayout" Target="../slideLayouts/slideLayout82.xml"/><Relationship Id="rId47" Type="http://schemas.openxmlformats.org/officeDocument/2006/relationships/tags" Target="../tags/tag3.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9" Type="http://schemas.openxmlformats.org/officeDocument/2006/relationships/slideLayout" Target="../slideLayouts/slideLayout69.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theme" Target="../theme/theme3.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49" Type="http://schemas.openxmlformats.org/officeDocument/2006/relationships/image" Target="../media/image6.emf"/><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4" Type="http://schemas.openxmlformats.org/officeDocument/2006/relationships/slideLayout" Target="../slideLayouts/slideLayout84.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slideLayout" Target="../slideLayouts/slideLayout83.xml"/><Relationship Id="rId48" Type="http://schemas.openxmlformats.org/officeDocument/2006/relationships/tags" Target="../tags/tag4.xml"/><Relationship Id="rId8" Type="http://schemas.openxmlformats.org/officeDocument/2006/relationships/slideLayout" Target="../slideLayouts/slideLayout48.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tags" Target="../tags/tag2.xml"/><Relationship Id="rId20" Type="http://schemas.openxmlformats.org/officeDocument/2006/relationships/slideLayout" Target="../slideLayouts/slideLayout60.xml"/><Relationship Id="rId41" Type="http://schemas.openxmlformats.org/officeDocument/2006/relationships/slideLayout" Target="../slideLayouts/slideLayout81.xml"/><Relationship Id="rId1" Type="http://schemas.openxmlformats.org/officeDocument/2006/relationships/slideLayout" Target="../slideLayouts/slideLayout41.xml"/><Relationship Id="rId6"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094" r:id="rId12"/>
    <p:sldLayoutId id="2147484268" r:id="rId13"/>
    <p:sldLayoutId id="2147484195" r:id="rId14"/>
    <p:sldLayoutId id="2147484096" r:id="rId1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accent3"/>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50004912"/>
      </p:ext>
    </p:extLst>
  </p:cSld>
  <p:clrMap bg1="lt1" tx1="dk1" bg2="lt2" tx2="dk2" accent1="accent1" accent2="accent2" accent3="accent3" accent4="accent4" accent5="accent5" accent6="accent6" hlink="hlink" folHlink="folHlink"/>
  <p:sldLayoutIdLst>
    <p:sldLayoutId id="2147484276" r:id="rId1"/>
    <p:sldLayoutId id="2147484288" r:id="rId2"/>
    <p:sldLayoutId id="2147484289" r:id="rId3"/>
    <p:sldLayoutId id="2147484296" r:id="rId4"/>
    <p:sldLayoutId id="2147484290" r:id="rId5"/>
    <p:sldLayoutId id="2147484297" r:id="rId6"/>
    <p:sldLayoutId id="2147484298" r:id="rId7"/>
    <p:sldLayoutId id="2147484299" r:id="rId8"/>
    <p:sldLayoutId id="2147484300" r:id="rId9"/>
    <p:sldLayoutId id="2147484301" r:id="rId10"/>
    <p:sldLayoutId id="2147484291" r:id="rId11"/>
    <p:sldLayoutId id="2147484302" r:id="rId12"/>
    <p:sldLayoutId id="2147484292" r:id="rId13"/>
    <p:sldLayoutId id="2147484303" r:id="rId14"/>
    <p:sldLayoutId id="2147484293" r:id="rId15"/>
    <p:sldLayoutId id="2147484294" r:id="rId16"/>
    <p:sldLayoutId id="2147484295" r:id="rId17"/>
    <p:sldLayoutId id="2147484305" r:id="rId18"/>
    <p:sldLayoutId id="2147484306" r:id="rId19"/>
    <p:sldLayoutId id="2147484307" r:id="rId20"/>
    <p:sldLayoutId id="2147484308" r:id="rId21"/>
    <p:sldLayoutId id="2147484309" r:id="rId22"/>
    <p:sldLayoutId id="2147484310" r:id="rId23"/>
    <p:sldLayoutId id="2147484311" r:id="rId24"/>
    <p:sldLayoutId id="2147484312"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accent3"/>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68786" y="326411"/>
            <a:ext cx="11098906" cy="470856"/>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68786" y="1436145"/>
            <a:ext cx="11098906" cy="491559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600625" y="2909627"/>
            <a:ext cx="6994525" cy="119392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 id="2147484022" r:id="rId32"/>
    <p:sldLayoutId id="2147484023" r:id="rId33"/>
    <p:sldLayoutId id="2147484024" r:id="rId34"/>
    <p:sldLayoutId id="2147484025" r:id="rId35"/>
    <p:sldLayoutId id="2147484026" r:id="rId36"/>
    <p:sldLayoutId id="2147484027" r:id="rId37"/>
    <p:sldLayoutId id="2147484028" r:id="rId38"/>
    <p:sldLayoutId id="2147484029" r:id="rId39"/>
    <p:sldLayoutId id="2147484030" r:id="rId40"/>
    <p:sldLayoutId id="2147484031" r:id="rId41"/>
    <p:sldLayoutId id="2147484032" r:id="rId42"/>
    <p:sldLayoutId id="2147484033" r:id="rId43"/>
    <p:sldLayoutId id="2147484034" r:id="rId44"/>
  </p:sldLayoutIdLst>
  <p:txStyles>
    <p:titleStyle>
      <a:lvl1pPr algn="l" defTabSz="951304" rtl="0" eaLnBrk="1" latinLnBrk="0" hangingPunct="1">
        <a:lnSpc>
          <a:spcPts val="3692"/>
        </a:lnSpc>
        <a:spcBef>
          <a:spcPct val="0"/>
        </a:spcBef>
        <a:buNone/>
        <a:defRPr lang="en-GB" sz="3300" b="0" kern="1200" cap="none" spc="-51" baseline="0" dirty="0" smtClean="0">
          <a:ln w="3175">
            <a:noFill/>
          </a:ln>
          <a:solidFill>
            <a:schemeClr val="tx1"/>
          </a:solidFill>
          <a:effectLst/>
          <a:latin typeface="+mj-lt"/>
          <a:ea typeface="+mn-ea"/>
          <a:cs typeface="Segoe UI" pitchFamily="34" charset="0"/>
        </a:defRPr>
      </a:lvl1pPr>
    </p:titleStyle>
    <p:body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0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00"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32597" rtl="0" eaLnBrk="1" latinLnBrk="0" hangingPunct="1">
        <a:defRPr sz="1800" kern="1200">
          <a:solidFill>
            <a:schemeClr val="tx1"/>
          </a:solidFill>
          <a:latin typeface="+mn-lt"/>
          <a:ea typeface="+mn-ea"/>
          <a:cs typeface="+mn-cs"/>
        </a:defRPr>
      </a:lvl1pPr>
      <a:lvl2pPr marL="466298" algn="l" defTabSz="932597" rtl="0" eaLnBrk="1" latinLnBrk="0" hangingPunct="1">
        <a:defRPr sz="1800" kern="1200">
          <a:solidFill>
            <a:schemeClr val="tx1"/>
          </a:solidFill>
          <a:latin typeface="+mn-lt"/>
          <a:ea typeface="+mn-ea"/>
          <a:cs typeface="+mn-cs"/>
        </a:defRPr>
      </a:lvl2pPr>
      <a:lvl3pPr marL="932597" algn="l" defTabSz="932597" rtl="0" eaLnBrk="1" latinLnBrk="0" hangingPunct="1">
        <a:defRPr sz="1800" kern="1200">
          <a:solidFill>
            <a:schemeClr val="tx1"/>
          </a:solidFill>
          <a:latin typeface="+mn-lt"/>
          <a:ea typeface="+mn-ea"/>
          <a:cs typeface="+mn-cs"/>
        </a:defRPr>
      </a:lvl3pPr>
      <a:lvl4pPr marL="1398895" algn="l" defTabSz="932597" rtl="0" eaLnBrk="1" latinLnBrk="0" hangingPunct="1">
        <a:defRPr sz="1800" kern="1200">
          <a:solidFill>
            <a:schemeClr val="tx1"/>
          </a:solidFill>
          <a:latin typeface="+mn-lt"/>
          <a:ea typeface="+mn-ea"/>
          <a:cs typeface="+mn-cs"/>
        </a:defRPr>
      </a:lvl4pPr>
      <a:lvl5pPr marL="1865193" algn="l" defTabSz="932597" rtl="0" eaLnBrk="1" latinLnBrk="0" hangingPunct="1">
        <a:defRPr sz="1800" kern="1200">
          <a:solidFill>
            <a:schemeClr val="tx1"/>
          </a:solidFill>
          <a:latin typeface="+mn-lt"/>
          <a:ea typeface="+mn-ea"/>
          <a:cs typeface="+mn-cs"/>
        </a:defRPr>
      </a:lvl5pPr>
      <a:lvl6pPr marL="2331491" algn="l" defTabSz="932597" rtl="0" eaLnBrk="1" latinLnBrk="0" hangingPunct="1">
        <a:defRPr sz="1800" kern="1200">
          <a:solidFill>
            <a:schemeClr val="tx1"/>
          </a:solidFill>
          <a:latin typeface="+mn-lt"/>
          <a:ea typeface="+mn-ea"/>
          <a:cs typeface="+mn-cs"/>
        </a:defRPr>
      </a:lvl6pPr>
      <a:lvl7pPr marL="2797790" algn="l" defTabSz="932597" rtl="0" eaLnBrk="1" latinLnBrk="0" hangingPunct="1">
        <a:defRPr sz="1800" kern="1200">
          <a:solidFill>
            <a:schemeClr val="tx1"/>
          </a:solidFill>
          <a:latin typeface="+mn-lt"/>
          <a:ea typeface="+mn-ea"/>
          <a:cs typeface="+mn-cs"/>
        </a:defRPr>
      </a:lvl7pPr>
      <a:lvl8pPr marL="3264088" algn="l" defTabSz="932597" rtl="0" eaLnBrk="1" latinLnBrk="0" hangingPunct="1">
        <a:defRPr sz="1800" kern="1200">
          <a:solidFill>
            <a:schemeClr val="tx1"/>
          </a:solidFill>
          <a:latin typeface="+mn-lt"/>
          <a:ea typeface="+mn-ea"/>
          <a:cs typeface="+mn-cs"/>
        </a:defRPr>
      </a:lvl8pPr>
      <a:lvl9pPr marL="3730386" algn="l" defTabSz="93259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6" userDrawn="1">
          <p15:clr>
            <a:srgbClr val="A4A3A4"/>
          </p15:clr>
        </p15:guide>
        <p15:guide id="2" pos="196" userDrawn="1">
          <p15:clr>
            <a:srgbClr val="A4A3A4"/>
          </p15:clr>
        </p15:guide>
        <p15:guide id="3" orient="horz" pos="392" userDrawn="1">
          <p15:clr>
            <a:srgbClr val="F26B43"/>
          </p15:clr>
        </p15:guide>
        <p15:guide id="5" orient="horz" pos="4210" userDrawn="1">
          <p15:clr>
            <a:srgbClr val="A4A3A4"/>
          </p15:clr>
        </p15:guide>
        <p15:guide id="6" orient="horz" pos="4014" userDrawn="1">
          <p15:clr>
            <a:srgbClr val="F26B43"/>
          </p15:clr>
        </p15:guide>
        <p15:guide id="7" pos="7442" userDrawn="1">
          <p15:clr>
            <a:srgbClr val="F26B43"/>
          </p15:clr>
        </p15:guide>
        <p15:guide id="8" pos="7638" userDrawn="1">
          <p15:clr>
            <a:srgbClr val="A4A3A4"/>
          </p15:clr>
        </p15:guide>
        <p15:guide id="9" pos="39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microsoft.com/office/2018/10/relationships/comments" Target="../comments/modernComment_7E6_A0CF9962.xml"/><Relationship Id="rId7"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3" Type="http://schemas.microsoft.com/office/2018/10/relationships/comments" Target="../comments/modernComment_7E0_B9191959.xml"/><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sv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svg"/></Relationships>
</file>

<file path=ppt/slides/_rels/slide16.xml.rels><?xml version="1.0" encoding="UTF-8" standalone="yes"?>
<Relationships xmlns="http://schemas.openxmlformats.org/package/2006/relationships"><Relationship Id="rId8" Type="http://schemas.openxmlformats.org/officeDocument/2006/relationships/image" Target="../media/image32.png"/><Relationship Id="rId3" Type="http://schemas.microsoft.com/office/2018/10/relationships/comments" Target="../comments/modernComment_7DF_F21D129C.xml"/><Relationship Id="rId7" Type="http://schemas.openxmlformats.org/officeDocument/2006/relationships/image" Target="../media/image31.svg"/><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image" Target="../media/image30.png"/><Relationship Id="rId11" Type="http://schemas.openxmlformats.org/officeDocument/2006/relationships/image" Target="../media/image35.svg"/><Relationship Id="rId5" Type="http://schemas.openxmlformats.org/officeDocument/2006/relationships/image" Target="../media/image29.sv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svg"/></Relationships>
</file>

<file path=ppt/slides/_rels/slide17.xml.rels><?xml version="1.0" encoding="UTF-8" standalone="yes"?>
<Relationships xmlns="http://schemas.openxmlformats.org/package/2006/relationships"><Relationship Id="rId2" Type="http://schemas.openxmlformats.org/officeDocument/2006/relationships/hyperlink" Target="http://blob:https:/esxp.microsoft.com/9557e4f0-0f5a-461d-89b1-b0b4c9234f5a" TargetMode="Externa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microsoft.com/office/2018/10/relationships/comments" Target="../comments/modernComment_7BD_676F90EE.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2.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22.xml"/><Relationship Id="rId4" Type="http://schemas.openxmlformats.org/officeDocument/2006/relationships/image" Target="../media/image40.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9.xml"/><Relationship Id="rId1" Type="http://schemas.openxmlformats.org/officeDocument/2006/relationships/tags" Target="../tags/tag6.xml"/><Relationship Id="rId4" Type="http://schemas.microsoft.com/office/2018/10/relationships/comments" Target="../comments/modernComment_7C7_D4DE439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1.xml"/><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microsoft.com/office/2018/10/relationships/comments" Target="../comments/modernComment_7AE_DD81B51B.xml"/><Relationship Id="rId2" Type="http://schemas.openxmlformats.org/officeDocument/2006/relationships/notesSlide" Target="../notesSlides/notesSlide24.xml"/><Relationship Id="rId1" Type="http://schemas.openxmlformats.org/officeDocument/2006/relationships/slideLayout" Target="../slideLayouts/slideLayout2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31.xml.rels><?xml version="1.0" encoding="UTF-8" standalone="yes"?>
<Relationships xmlns="http://schemas.openxmlformats.org/package/2006/relationships"><Relationship Id="rId3" Type="http://schemas.microsoft.com/office/2018/10/relationships/comments" Target="../comments/modernComment_7D2_3AFD0FE8.xml"/><Relationship Id="rId2" Type="http://schemas.openxmlformats.org/officeDocument/2006/relationships/notesSlide" Target="../notesSlides/notesSlide25.xml"/><Relationship Id="rId1" Type="http://schemas.openxmlformats.org/officeDocument/2006/relationships/slideLayout" Target="../slideLayouts/slideLayout2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3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6.xml"/><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7.xml"/><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8.xml"/><Relationship Id="rId1" Type="http://schemas.openxmlformats.org/officeDocument/2006/relationships/slideLayout" Target="../slideLayouts/slideLayout2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9.xml"/><Relationship Id="rId1" Type="http://schemas.openxmlformats.org/officeDocument/2006/relationships/tags" Target="../tags/tag7.xml"/></Relationships>
</file>

<file path=ppt/slides/_rels/slide36.xml.rels><?xml version="1.0" encoding="UTF-8" standalone="yes"?>
<Relationships xmlns="http://schemas.openxmlformats.org/package/2006/relationships"><Relationship Id="rId3" Type="http://schemas.microsoft.com/office/2018/10/relationships/comments" Target="../comments/modernComment_11A_446C707E.xml"/><Relationship Id="rId2" Type="http://schemas.openxmlformats.org/officeDocument/2006/relationships/notesSlide" Target="../notesSlides/notesSlide30.xml"/><Relationship Id="rId1" Type="http://schemas.openxmlformats.org/officeDocument/2006/relationships/slideLayout" Target="../slideLayouts/slideLayout30.xml"/></Relationships>
</file>

<file path=ppt/slides/_rels/slide37.xml.rels><?xml version="1.0" encoding="UTF-8" standalone="yes"?>
<Relationships xmlns="http://schemas.openxmlformats.org/package/2006/relationships"><Relationship Id="rId2" Type="http://schemas.microsoft.com/office/2018/10/relationships/comments" Target="../comments/modernComment_11B_D3A597A0.xml"/><Relationship Id="rId1" Type="http://schemas.openxmlformats.org/officeDocument/2006/relationships/slideLayout" Target="../slideLayouts/slideLayout3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microsoft.com/office/2018/10/relationships/comments" Target="../comments/modernComment_116_8C6990C0.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1.png"/><Relationship Id="rId7" Type="http://schemas.openxmlformats.org/officeDocument/2006/relationships/diagramColors" Target="../diagrams/colors1.xm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solidFill>
            <a:srgbClr val="0078D7"/>
          </a:solidFill>
        </p:spPr>
        <p:txBody>
          <a:bodyPr/>
          <a:lstStyle/>
          <a:p>
            <a:r>
              <a:rPr lang="en-US">
                <a:solidFill>
                  <a:srgbClr val="FFFFFF"/>
                </a:solidFill>
                <a:cs typeface="Segoe UI"/>
              </a:rPr>
              <a:t>WorkshopPLUS</a:t>
            </a:r>
            <a:r>
              <a:rPr lang="en-US">
                <a:cs typeface="Segoe UI"/>
              </a:rPr>
              <a:t> – Power Apps for Power Users 1 Day with Lab</a:t>
            </a:r>
            <a:br>
              <a:rPr lang="en-US" b="1"/>
            </a:br>
            <a:br>
              <a:rPr lang="en-US"/>
            </a:br>
            <a:r>
              <a:rPr lang="en-US">
                <a:cs typeface="Segoe UI"/>
              </a:rPr>
              <a:t>Module 1: Introduction</a:t>
            </a:r>
            <a:endParaRPr lang="en-US"/>
          </a:p>
        </p:txBody>
      </p:sp>
    </p:spTree>
    <p:extLst>
      <p:ext uri="{BB962C8B-B14F-4D97-AF65-F5344CB8AC3E}">
        <p14:creationId xmlns:p14="http://schemas.microsoft.com/office/powerpoint/2010/main" val="1325058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1DA1D-3015-4115-A46F-08C300A8EA0B}"/>
              </a:ext>
            </a:extLst>
          </p:cNvPr>
          <p:cNvSpPr>
            <a:spLocks noGrp="1"/>
          </p:cNvSpPr>
          <p:nvPr>
            <p:ph type="title"/>
          </p:nvPr>
        </p:nvSpPr>
        <p:spPr/>
        <p:txBody>
          <a:bodyPr/>
          <a:lstStyle/>
          <a:p>
            <a:r>
              <a:rPr lang="en-US"/>
              <a:t>When should I use it?</a:t>
            </a:r>
          </a:p>
        </p:txBody>
      </p:sp>
      <p:sp>
        <p:nvSpPr>
          <p:cNvPr id="4" name="TextBox 3">
            <a:extLst>
              <a:ext uri="{FF2B5EF4-FFF2-40B4-BE49-F238E27FC236}">
                <a16:creationId xmlns:a16="http://schemas.microsoft.com/office/drawing/2014/main" id="{257FC62E-49E3-444E-A85B-32C19485B2EA}"/>
              </a:ext>
            </a:extLst>
          </p:cNvPr>
          <p:cNvSpPr txBox="1"/>
          <p:nvPr/>
        </p:nvSpPr>
        <p:spPr>
          <a:xfrm>
            <a:off x="4598885" y="5063898"/>
            <a:ext cx="6668086" cy="646331"/>
          </a:xfrm>
          <a:prstGeom prst="rect">
            <a:avLst/>
          </a:prstGeom>
          <a:noFill/>
        </p:spPr>
        <p:txBody>
          <a:bodyPr wrap="square">
            <a:spAutoFit/>
          </a:bodyPr>
          <a:lstStyle/>
          <a:p>
            <a:pPr algn="l">
              <a:buFont typeface="Arial" panose="020B0604020202020204" pitchFamily="34" charset="0"/>
              <a:buChar char="•"/>
            </a:pPr>
            <a:r>
              <a:rPr lang="en-US" b="0" i="0">
                <a:solidFill>
                  <a:srgbClr val="171717"/>
                </a:solidFill>
                <a:effectLst/>
                <a:latin typeface="Segoe UI" panose="020B0502040204020203" pitchFamily="34" charset="0"/>
              </a:rPr>
              <a:t>.</a:t>
            </a:r>
          </a:p>
          <a:p>
            <a:pPr algn="l">
              <a:buFont typeface="Arial" panose="020B0604020202020204" pitchFamily="34" charset="0"/>
              <a:buChar char="•"/>
            </a:pPr>
            <a:r>
              <a:rPr lang="en-US" b="0" i="0">
                <a:solidFill>
                  <a:srgbClr val="171717"/>
                </a:solidFill>
                <a:effectLst/>
                <a:latin typeface="Segoe UI" panose="020B0502040204020203" pitchFamily="34" charset="0"/>
              </a:rPr>
              <a:t>.</a:t>
            </a:r>
          </a:p>
        </p:txBody>
      </p:sp>
      <p:graphicFrame>
        <p:nvGraphicFramePr>
          <p:cNvPr id="3" name="Diagram 2">
            <a:extLst>
              <a:ext uri="{FF2B5EF4-FFF2-40B4-BE49-F238E27FC236}">
                <a16:creationId xmlns:a16="http://schemas.microsoft.com/office/drawing/2014/main" id="{BC7AE67D-4F38-4552-98BA-28FAED1B466A}"/>
              </a:ext>
            </a:extLst>
          </p:cNvPr>
          <p:cNvGraphicFramePr/>
          <p:nvPr>
            <p:extLst>
              <p:ext uri="{D42A27DB-BD31-4B8C-83A1-F6EECF244321}">
                <p14:modId xmlns:p14="http://schemas.microsoft.com/office/powerpoint/2010/main" val="1445141286"/>
              </p:ext>
            </p:extLst>
          </p:nvPr>
        </p:nvGraphicFramePr>
        <p:xfrm>
          <a:off x="457200" y="1284296"/>
          <a:ext cx="11522075" cy="52308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0811212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5B666-06D9-4DEC-8149-5A205CEA7357}"/>
              </a:ext>
            </a:extLst>
          </p:cNvPr>
          <p:cNvSpPr>
            <a:spLocks noGrp="1"/>
          </p:cNvSpPr>
          <p:nvPr>
            <p:ph type="title"/>
          </p:nvPr>
        </p:nvSpPr>
        <p:spPr/>
        <p:txBody>
          <a:bodyPr/>
          <a:lstStyle/>
          <a:p>
            <a:r>
              <a:rPr lang="en-US"/>
              <a:t>When should I not use it</a:t>
            </a:r>
          </a:p>
        </p:txBody>
      </p:sp>
      <p:graphicFrame>
        <p:nvGraphicFramePr>
          <p:cNvPr id="3" name="Diagram 2">
            <a:extLst>
              <a:ext uri="{FF2B5EF4-FFF2-40B4-BE49-F238E27FC236}">
                <a16:creationId xmlns:a16="http://schemas.microsoft.com/office/drawing/2014/main" id="{6AE47AF7-3091-4B6D-8E1E-DC6B1606FD43}"/>
              </a:ext>
            </a:extLst>
          </p:cNvPr>
          <p:cNvGraphicFramePr/>
          <p:nvPr>
            <p:extLst>
              <p:ext uri="{D42A27DB-BD31-4B8C-83A1-F6EECF244321}">
                <p14:modId xmlns:p14="http://schemas.microsoft.com/office/powerpoint/2010/main" val="3057018000"/>
              </p:ext>
            </p:extLst>
          </p:nvPr>
        </p:nvGraphicFramePr>
        <p:xfrm>
          <a:off x="457199" y="1211262"/>
          <a:ext cx="11522075" cy="53038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2038761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BC9E5B-EA73-4449-A79B-C287F76A7EFF}"/>
              </a:ext>
            </a:extLst>
          </p:cNvPr>
          <p:cNvSpPr>
            <a:spLocks noGrp="1"/>
          </p:cNvSpPr>
          <p:nvPr>
            <p:ph type="title"/>
          </p:nvPr>
        </p:nvSpPr>
        <p:spPr/>
        <p:txBody>
          <a:bodyPr/>
          <a:lstStyle/>
          <a:p>
            <a:r>
              <a:rPr lang="en-US"/>
              <a:t>How would I use it</a:t>
            </a:r>
          </a:p>
        </p:txBody>
      </p:sp>
      <p:sp>
        <p:nvSpPr>
          <p:cNvPr id="3" name="TextBox 2">
            <a:extLst>
              <a:ext uri="{FF2B5EF4-FFF2-40B4-BE49-F238E27FC236}">
                <a16:creationId xmlns:a16="http://schemas.microsoft.com/office/drawing/2014/main" id="{8ADA5948-1913-463F-8CC4-C9CB6AD671F0}"/>
              </a:ext>
            </a:extLst>
          </p:cNvPr>
          <p:cNvSpPr txBox="1"/>
          <p:nvPr/>
        </p:nvSpPr>
        <p:spPr>
          <a:xfrm>
            <a:off x="503237" y="1287462"/>
            <a:ext cx="10896600" cy="1181862"/>
          </a:xfrm>
          <a:prstGeom prst="rect">
            <a:avLst/>
          </a:prstGeom>
          <a:noFill/>
        </p:spPr>
        <p:txBody>
          <a:bodyPr wrap="square" lIns="182880" tIns="146304" rIns="182880" bIns="146304" rtlCol="0">
            <a:spAutoFit/>
          </a:bodyPr>
          <a:lstStyle/>
          <a:p>
            <a:pPr>
              <a:lnSpc>
                <a:spcPct val="90000"/>
              </a:lnSpc>
              <a:spcAft>
                <a:spcPts val="600"/>
              </a:spcAft>
            </a:pPr>
            <a:r>
              <a:rPr lang="en-US" sz="3200" b="0" i="0">
                <a:solidFill>
                  <a:schemeClr val="tx1">
                    <a:lumMod val="50000"/>
                  </a:schemeClr>
                </a:solidFill>
                <a:effectLst/>
                <a:latin typeface="Segoe UI" panose="020B0502040204020203" pitchFamily="34" charset="0"/>
              </a:rPr>
              <a:t>Environment is automatically created for the selected team when you:</a:t>
            </a:r>
          </a:p>
        </p:txBody>
      </p:sp>
      <p:pic>
        <p:nvPicPr>
          <p:cNvPr id="4" name="Picture 3">
            <a:extLst>
              <a:ext uri="{FF2B5EF4-FFF2-40B4-BE49-F238E27FC236}">
                <a16:creationId xmlns:a16="http://schemas.microsoft.com/office/drawing/2014/main" id="{07CA59F1-978F-45C5-ADFF-16946D2E51F9}"/>
              </a:ext>
            </a:extLst>
          </p:cNvPr>
          <p:cNvPicPr>
            <a:picLocks noChangeAspect="1"/>
          </p:cNvPicPr>
          <p:nvPr/>
        </p:nvPicPr>
        <p:blipFill>
          <a:blip r:embed="rId3"/>
          <a:stretch>
            <a:fillRect/>
          </a:stretch>
        </p:blipFill>
        <p:spPr>
          <a:xfrm>
            <a:off x="5380036" y="2454760"/>
            <a:ext cx="6730136" cy="3785702"/>
          </a:xfrm>
          <a:prstGeom prst="rect">
            <a:avLst/>
          </a:prstGeom>
        </p:spPr>
      </p:pic>
      <p:sp>
        <p:nvSpPr>
          <p:cNvPr id="6" name="TextBox 5">
            <a:extLst>
              <a:ext uri="{FF2B5EF4-FFF2-40B4-BE49-F238E27FC236}">
                <a16:creationId xmlns:a16="http://schemas.microsoft.com/office/drawing/2014/main" id="{D0951595-B4E9-4648-9AD7-C6783C266DA9}"/>
              </a:ext>
            </a:extLst>
          </p:cNvPr>
          <p:cNvSpPr txBox="1"/>
          <p:nvPr/>
        </p:nvSpPr>
        <p:spPr>
          <a:xfrm>
            <a:off x="457199" y="3121190"/>
            <a:ext cx="4922837" cy="2573012"/>
          </a:xfrm>
          <a:prstGeom prst="rect">
            <a:avLst/>
          </a:prstGeom>
          <a:noFill/>
        </p:spPr>
        <p:txBody>
          <a:bodyPr wrap="square">
            <a:spAutoFit/>
          </a:bodyPr>
          <a:lstStyle/>
          <a:p>
            <a:pPr>
              <a:lnSpc>
                <a:spcPct val="90000"/>
              </a:lnSpc>
              <a:spcAft>
                <a:spcPts val="600"/>
              </a:spcAft>
            </a:pPr>
            <a:r>
              <a:rPr lang="en-US" sz="2800">
                <a:solidFill>
                  <a:schemeClr val="tx1">
                    <a:lumMod val="50000"/>
                  </a:schemeClr>
                </a:solidFill>
                <a:latin typeface="Segoe UI" panose="020B0502040204020203" pitchFamily="34" charset="0"/>
              </a:rPr>
              <a:t>1.</a:t>
            </a:r>
            <a:r>
              <a:rPr lang="en-US" sz="2800" b="0" i="0">
                <a:solidFill>
                  <a:schemeClr val="tx1">
                    <a:lumMod val="50000"/>
                  </a:schemeClr>
                </a:solidFill>
                <a:effectLst/>
                <a:latin typeface="Segoe UI" panose="020B0502040204020203" pitchFamily="34" charset="0"/>
              </a:rPr>
              <a:t> </a:t>
            </a:r>
            <a:r>
              <a:rPr lang="en-US" sz="2800" b="0" i="0" u="none" strike="noStrike">
                <a:solidFill>
                  <a:schemeClr val="tx1">
                    <a:lumMod val="50000"/>
                  </a:schemeClr>
                </a:solidFill>
                <a:effectLst/>
                <a:latin typeface="Segoe UI" panose="020B0502040204020203" pitchFamily="34" charset="0"/>
              </a:rPr>
              <a:t>Create a </a:t>
            </a:r>
            <a:r>
              <a:rPr lang="en-US" sz="2800" b="0" i="0">
                <a:solidFill>
                  <a:schemeClr val="tx1">
                    <a:lumMod val="50000"/>
                  </a:schemeClr>
                </a:solidFill>
                <a:effectLst/>
                <a:latin typeface="Segoe UI" panose="020B0502040204020203" pitchFamily="34" charset="0"/>
              </a:rPr>
              <a:t>new Power Apps app in Teams for the first time</a:t>
            </a:r>
          </a:p>
          <a:p>
            <a:pPr>
              <a:lnSpc>
                <a:spcPct val="90000"/>
              </a:lnSpc>
              <a:spcAft>
                <a:spcPts val="600"/>
              </a:spcAft>
            </a:pPr>
            <a:endParaRPr lang="en-US" sz="2800" b="0" i="0">
              <a:solidFill>
                <a:schemeClr val="tx1">
                  <a:lumMod val="50000"/>
                </a:schemeClr>
              </a:solidFill>
              <a:effectLst/>
              <a:latin typeface="Segoe UI" panose="020B0502040204020203" pitchFamily="34" charset="0"/>
            </a:endParaRPr>
          </a:p>
          <a:p>
            <a:pPr>
              <a:lnSpc>
                <a:spcPct val="90000"/>
              </a:lnSpc>
              <a:spcAft>
                <a:spcPts val="600"/>
              </a:spcAft>
            </a:pPr>
            <a:r>
              <a:rPr lang="en-US" sz="2800">
                <a:solidFill>
                  <a:schemeClr val="tx1">
                    <a:lumMod val="50000"/>
                  </a:schemeClr>
                </a:solidFill>
                <a:latin typeface="Segoe UI" panose="020B0502040204020203" pitchFamily="34" charset="0"/>
              </a:rPr>
              <a:t>2.</a:t>
            </a:r>
            <a:r>
              <a:rPr lang="en-US" sz="2800" b="0" i="0">
                <a:solidFill>
                  <a:schemeClr val="tx1">
                    <a:lumMod val="50000"/>
                  </a:schemeClr>
                </a:solidFill>
                <a:effectLst/>
                <a:latin typeface="Segoe UI" panose="020B0502040204020203" pitchFamily="34" charset="0"/>
              </a:rPr>
              <a:t> Install a Power Apps app from the app catalog for the first time</a:t>
            </a:r>
          </a:p>
        </p:txBody>
      </p:sp>
      <p:pic>
        <p:nvPicPr>
          <p:cNvPr id="5" name="Picture 6" descr="Graphical user interface&#10;&#10;Description automatically generated">
            <a:extLst>
              <a:ext uri="{FF2B5EF4-FFF2-40B4-BE49-F238E27FC236}">
                <a16:creationId xmlns:a16="http://schemas.microsoft.com/office/drawing/2014/main" id="{59F18442-6A51-4DAE-B46E-7CCC18C68791}"/>
              </a:ext>
            </a:extLst>
          </p:cNvPr>
          <p:cNvPicPr>
            <a:picLocks noChangeAspect="1"/>
          </p:cNvPicPr>
          <p:nvPr/>
        </p:nvPicPr>
        <p:blipFill>
          <a:blip r:embed="rId4"/>
          <a:stretch>
            <a:fillRect/>
          </a:stretch>
        </p:blipFill>
        <p:spPr>
          <a:xfrm>
            <a:off x="5381337" y="2460329"/>
            <a:ext cx="6724408" cy="3758936"/>
          </a:xfrm>
          <a:prstGeom prst="rect">
            <a:avLst/>
          </a:prstGeom>
        </p:spPr>
      </p:pic>
    </p:spTree>
    <p:extLst>
      <p:ext uri="{BB962C8B-B14F-4D97-AF65-F5344CB8AC3E}">
        <p14:creationId xmlns:p14="http://schemas.microsoft.com/office/powerpoint/2010/main" val="410822038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4019DC-86F3-4E9B-98C7-3DDB592F24FB}"/>
              </a:ext>
            </a:extLst>
          </p:cNvPr>
          <p:cNvSpPr>
            <a:spLocks noGrp="1"/>
          </p:cNvSpPr>
          <p:nvPr>
            <p:ph type="title"/>
          </p:nvPr>
        </p:nvSpPr>
        <p:spPr/>
        <p:txBody>
          <a:bodyPr/>
          <a:lstStyle/>
          <a:p>
            <a:r>
              <a:rPr lang="en-US">
                <a:ea typeface="+mj-lt"/>
                <a:cs typeface="+mj-lt"/>
              </a:rPr>
              <a:t>Embed a canvas app as tab app in Teams</a:t>
            </a:r>
            <a:endParaRPr lang="en-US"/>
          </a:p>
        </p:txBody>
      </p:sp>
      <p:sp>
        <p:nvSpPr>
          <p:cNvPr id="3" name="TextBox 2">
            <a:extLst>
              <a:ext uri="{FF2B5EF4-FFF2-40B4-BE49-F238E27FC236}">
                <a16:creationId xmlns:a16="http://schemas.microsoft.com/office/drawing/2014/main" id="{536E12BC-DC35-4379-A780-AF4A66A60088}"/>
              </a:ext>
            </a:extLst>
          </p:cNvPr>
          <p:cNvSpPr txBox="1"/>
          <p:nvPr/>
        </p:nvSpPr>
        <p:spPr>
          <a:xfrm>
            <a:off x="455500" y="1209954"/>
            <a:ext cx="7515512" cy="5207579"/>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285750" indent="-285750">
              <a:lnSpc>
                <a:spcPct val="90000"/>
              </a:lnSpc>
              <a:spcAft>
                <a:spcPts val="600"/>
              </a:spcAft>
              <a:buFont typeface="Arial"/>
              <a:buChar char="•"/>
            </a:pPr>
            <a:r>
              <a:rPr lang="en-US">
                <a:solidFill>
                  <a:srgbClr val="171717"/>
                </a:solidFill>
                <a:cs typeface="Segoe UI"/>
              </a:rPr>
              <a:t>In Microsoft Teams, select a team, and a channel under that team. In this example, it's the </a:t>
            </a:r>
            <a:r>
              <a:rPr lang="en-US" b="1">
                <a:solidFill>
                  <a:srgbClr val="171717"/>
                </a:solidFill>
                <a:cs typeface="Segoe UI"/>
              </a:rPr>
              <a:t>General</a:t>
            </a:r>
            <a:r>
              <a:rPr lang="en-US">
                <a:solidFill>
                  <a:srgbClr val="171717"/>
                </a:solidFill>
                <a:cs typeface="Segoe UI"/>
              </a:rPr>
              <a:t> channel under the </a:t>
            </a:r>
            <a:r>
              <a:rPr lang="en-US" b="1">
                <a:solidFill>
                  <a:srgbClr val="171717"/>
                </a:solidFill>
                <a:cs typeface="Segoe UI"/>
              </a:rPr>
              <a:t>Business Development</a:t>
            </a:r>
            <a:r>
              <a:rPr lang="en-US">
                <a:solidFill>
                  <a:srgbClr val="171717"/>
                </a:solidFill>
                <a:cs typeface="Segoe UI"/>
              </a:rPr>
              <a:t> team.</a:t>
            </a:r>
          </a:p>
          <a:p>
            <a:pPr marL="285750" indent="-285750">
              <a:lnSpc>
                <a:spcPct val="90000"/>
              </a:lnSpc>
              <a:spcAft>
                <a:spcPts val="600"/>
              </a:spcAft>
              <a:buFont typeface="Arial"/>
              <a:buChar char="•"/>
            </a:pPr>
            <a:endParaRPr lang="en-US">
              <a:solidFill>
                <a:srgbClr val="171717"/>
              </a:solidFill>
              <a:ea typeface="+mn-lt"/>
              <a:cs typeface="+mn-lt"/>
            </a:endParaRPr>
          </a:p>
          <a:p>
            <a:pPr marL="285750" indent="-285750">
              <a:lnSpc>
                <a:spcPct val="90000"/>
              </a:lnSpc>
              <a:spcAft>
                <a:spcPts val="600"/>
              </a:spcAft>
              <a:buFont typeface="Arial"/>
              <a:buChar char="•"/>
            </a:pPr>
            <a:endParaRPr lang="en-US">
              <a:solidFill>
                <a:srgbClr val="171717"/>
              </a:solidFill>
              <a:ea typeface="+mn-lt"/>
              <a:cs typeface="+mn-lt"/>
            </a:endParaRPr>
          </a:p>
          <a:p>
            <a:pPr marL="285750" indent="-285750">
              <a:lnSpc>
                <a:spcPct val="90000"/>
              </a:lnSpc>
              <a:spcAft>
                <a:spcPts val="600"/>
              </a:spcAft>
              <a:buFont typeface="Arial"/>
              <a:buChar char="•"/>
            </a:pPr>
            <a:r>
              <a:rPr lang="en-US">
                <a:ea typeface="+mn-lt"/>
                <a:cs typeface="+mn-lt"/>
              </a:rPr>
              <a:t>Choose </a:t>
            </a:r>
            <a:r>
              <a:rPr lang="en-US" b="1">
                <a:ea typeface="+mn-lt"/>
                <a:cs typeface="+mn-lt"/>
              </a:rPr>
              <a:t>+</a:t>
            </a:r>
            <a:r>
              <a:rPr lang="en-US">
                <a:ea typeface="+mn-lt"/>
                <a:cs typeface="+mn-lt"/>
              </a:rPr>
              <a:t> to add a tab.</a:t>
            </a:r>
            <a:endParaRPr lang="en-US">
              <a:solidFill>
                <a:srgbClr val="171717"/>
              </a:solidFill>
              <a:cs typeface="Segoe UI"/>
            </a:endParaRPr>
          </a:p>
          <a:p>
            <a:pPr marL="285750" indent="-285750">
              <a:lnSpc>
                <a:spcPct val="90000"/>
              </a:lnSpc>
              <a:spcAft>
                <a:spcPts val="600"/>
              </a:spcAft>
              <a:buFont typeface="Arial"/>
              <a:buChar char="•"/>
            </a:pPr>
            <a:endParaRPr lang="en-US">
              <a:ea typeface="+mn-lt"/>
              <a:cs typeface="+mn-lt"/>
            </a:endParaRPr>
          </a:p>
          <a:p>
            <a:pPr marL="285750" indent="-285750">
              <a:lnSpc>
                <a:spcPct val="90000"/>
              </a:lnSpc>
              <a:spcAft>
                <a:spcPts val="600"/>
              </a:spcAft>
              <a:buFont typeface="Arial"/>
              <a:buChar char="•"/>
            </a:pPr>
            <a:endParaRPr lang="en-US">
              <a:ea typeface="+mn-lt"/>
              <a:cs typeface="+mn-lt"/>
            </a:endParaRPr>
          </a:p>
          <a:p>
            <a:pPr marL="285750" indent="-285750">
              <a:lnSpc>
                <a:spcPct val="90000"/>
              </a:lnSpc>
              <a:spcAft>
                <a:spcPts val="600"/>
              </a:spcAft>
              <a:buFont typeface="Arial"/>
              <a:buChar char="•"/>
            </a:pPr>
            <a:r>
              <a:rPr lang="en-US">
                <a:ea typeface="+mn-lt"/>
                <a:cs typeface="+mn-lt"/>
              </a:rPr>
              <a:t>In the </a:t>
            </a:r>
            <a:r>
              <a:rPr lang="en-US" b="1">
                <a:ea typeface="+mn-lt"/>
                <a:cs typeface="+mn-lt"/>
              </a:rPr>
              <a:t>Add a tab</a:t>
            </a:r>
            <a:r>
              <a:rPr lang="en-US">
                <a:ea typeface="+mn-lt"/>
                <a:cs typeface="+mn-lt"/>
              </a:rPr>
              <a:t> dialog box, choose </a:t>
            </a:r>
            <a:r>
              <a:rPr lang="en-US" b="1">
                <a:ea typeface="+mn-lt"/>
                <a:cs typeface="+mn-lt"/>
              </a:rPr>
              <a:t>Power Apps</a:t>
            </a:r>
            <a:r>
              <a:rPr lang="en-US">
                <a:ea typeface="+mn-lt"/>
                <a:cs typeface="+mn-lt"/>
              </a:rPr>
              <a:t>.</a:t>
            </a:r>
            <a:endParaRPr lang="en-US">
              <a:cs typeface="Segoe UI"/>
            </a:endParaRPr>
          </a:p>
          <a:p>
            <a:pPr marL="285750" indent="-285750">
              <a:lnSpc>
                <a:spcPct val="90000"/>
              </a:lnSpc>
              <a:spcAft>
                <a:spcPts val="600"/>
              </a:spcAft>
              <a:buFont typeface="Arial"/>
              <a:buChar char="•"/>
            </a:pPr>
            <a:endParaRPr lang="en-US">
              <a:ea typeface="+mn-lt"/>
              <a:cs typeface="+mn-lt"/>
            </a:endParaRPr>
          </a:p>
          <a:p>
            <a:pPr marL="285750" indent="-285750">
              <a:lnSpc>
                <a:spcPct val="90000"/>
              </a:lnSpc>
              <a:spcAft>
                <a:spcPts val="600"/>
              </a:spcAft>
              <a:buFont typeface="Arial"/>
              <a:buChar char="•"/>
            </a:pPr>
            <a:endParaRPr lang="en-US">
              <a:ea typeface="+mn-lt"/>
              <a:cs typeface="+mn-lt"/>
            </a:endParaRPr>
          </a:p>
          <a:p>
            <a:pPr marL="285750" indent="-285750">
              <a:lnSpc>
                <a:spcPct val="90000"/>
              </a:lnSpc>
              <a:spcAft>
                <a:spcPts val="600"/>
              </a:spcAft>
              <a:buFont typeface="Arial"/>
              <a:buChar char="•"/>
            </a:pPr>
            <a:endParaRPr lang="en-US">
              <a:ea typeface="+mn-lt"/>
              <a:cs typeface="+mn-lt"/>
            </a:endParaRPr>
          </a:p>
          <a:p>
            <a:pPr marL="285750" indent="-285750">
              <a:lnSpc>
                <a:spcPct val="90000"/>
              </a:lnSpc>
              <a:spcAft>
                <a:spcPts val="600"/>
              </a:spcAft>
              <a:buFont typeface="Arial"/>
              <a:buChar char="•"/>
            </a:pPr>
            <a:r>
              <a:rPr lang="en-US">
                <a:ea typeface="+mn-lt"/>
                <a:cs typeface="+mn-lt"/>
              </a:rPr>
              <a:t>Choose </a:t>
            </a:r>
            <a:r>
              <a:rPr lang="en-US" b="1">
                <a:ea typeface="+mn-lt"/>
                <a:cs typeface="+mn-lt"/>
              </a:rPr>
              <a:t>Sample apps</a:t>
            </a:r>
            <a:r>
              <a:rPr lang="en-US">
                <a:ea typeface="+mn-lt"/>
                <a:cs typeface="+mn-lt"/>
              </a:rPr>
              <a:t> &gt; </a:t>
            </a:r>
            <a:r>
              <a:rPr lang="en-US" b="1">
                <a:ea typeface="+mn-lt"/>
                <a:cs typeface="+mn-lt"/>
              </a:rPr>
              <a:t>Product Showcase</a:t>
            </a:r>
            <a:r>
              <a:rPr lang="en-US">
                <a:ea typeface="+mn-lt"/>
                <a:cs typeface="+mn-lt"/>
              </a:rPr>
              <a:t> &gt; </a:t>
            </a:r>
            <a:r>
              <a:rPr lang="en-US" b="1">
                <a:ea typeface="+mn-lt"/>
                <a:cs typeface="+mn-lt"/>
              </a:rPr>
              <a:t>Save</a:t>
            </a:r>
            <a:br>
              <a:rPr lang="en-US"/>
            </a:br>
            <a:endParaRPr lang="en-US">
              <a:cs typeface="Segoe UI"/>
            </a:endParaRPr>
          </a:p>
          <a:p>
            <a:pPr marL="285750" indent="-285750">
              <a:lnSpc>
                <a:spcPct val="90000"/>
              </a:lnSpc>
              <a:spcAft>
                <a:spcPts val="600"/>
              </a:spcAft>
              <a:buFont typeface="Arial"/>
              <a:buChar char="•"/>
            </a:pPr>
            <a:endParaRPr lang="en-US">
              <a:solidFill>
                <a:srgbClr val="505050"/>
              </a:solidFill>
              <a:cs typeface="Segoe UI"/>
            </a:endParaRPr>
          </a:p>
          <a:p>
            <a:pPr marL="285750" indent="-285750">
              <a:lnSpc>
                <a:spcPct val="90000"/>
              </a:lnSpc>
              <a:spcAft>
                <a:spcPts val="600"/>
              </a:spcAft>
              <a:buFont typeface="Arial"/>
              <a:buChar char="•"/>
            </a:pPr>
            <a:endParaRPr lang="en-US">
              <a:solidFill>
                <a:srgbClr val="171717"/>
              </a:solidFill>
              <a:cs typeface="Segoe UI"/>
            </a:endParaRPr>
          </a:p>
        </p:txBody>
      </p:sp>
      <p:pic>
        <p:nvPicPr>
          <p:cNvPr id="4" name="Picture 4" descr="Graphical user interface, text, application, email, Teams&#10;&#10;Description automatically generated">
            <a:extLst>
              <a:ext uri="{FF2B5EF4-FFF2-40B4-BE49-F238E27FC236}">
                <a16:creationId xmlns:a16="http://schemas.microsoft.com/office/drawing/2014/main" id="{3B34A27B-F92B-46A7-A5A0-10A46B99A243}"/>
              </a:ext>
            </a:extLst>
          </p:cNvPr>
          <p:cNvPicPr>
            <a:picLocks noChangeAspect="1"/>
          </p:cNvPicPr>
          <p:nvPr/>
        </p:nvPicPr>
        <p:blipFill>
          <a:blip r:embed="rId4"/>
          <a:stretch>
            <a:fillRect/>
          </a:stretch>
        </p:blipFill>
        <p:spPr>
          <a:xfrm>
            <a:off x="8387645" y="974446"/>
            <a:ext cx="2742717" cy="1242811"/>
          </a:xfrm>
          <a:prstGeom prst="rect">
            <a:avLst/>
          </a:prstGeom>
        </p:spPr>
      </p:pic>
      <p:pic>
        <p:nvPicPr>
          <p:cNvPr id="5" name="Picture 5" descr="Graphical user interface, application&#10;&#10;Description automatically generated">
            <a:extLst>
              <a:ext uri="{FF2B5EF4-FFF2-40B4-BE49-F238E27FC236}">
                <a16:creationId xmlns:a16="http://schemas.microsoft.com/office/drawing/2014/main" id="{B7C32472-D612-45CF-B343-DB66F2E01092}"/>
              </a:ext>
            </a:extLst>
          </p:cNvPr>
          <p:cNvPicPr>
            <a:picLocks noChangeAspect="1"/>
          </p:cNvPicPr>
          <p:nvPr/>
        </p:nvPicPr>
        <p:blipFill>
          <a:blip r:embed="rId5"/>
          <a:stretch>
            <a:fillRect/>
          </a:stretch>
        </p:blipFill>
        <p:spPr>
          <a:xfrm>
            <a:off x="8392724" y="2376324"/>
            <a:ext cx="2742717" cy="613186"/>
          </a:xfrm>
          <a:prstGeom prst="rect">
            <a:avLst/>
          </a:prstGeom>
        </p:spPr>
      </p:pic>
      <p:pic>
        <p:nvPicPr>
          <p:cNvPr id="6" name="Picture 6" descr="Graphical user interface, application&#10;&#10;Description automatically generated">
            <a:extLst>
              <a:ext uri="{FF2B5EF4-FFF2-40B4-BE49-F238E27FC236}">
                <a16:creationId xmlns:a16="http://schemas.microsoft.com/office/drawing/2014/main" id="{4B56FFEA-EA26-4D9B-8B9D-27696FA709F3}"/>
              </a:ext>
            </a:extLst>
          </p:cNvPr>
          <p:cNvPicPr>
            <a:picLocks noChangeAspect="1"/>
          </p:cNvPicPr>
          <p:nvPr/>
        </p:nvPicPr>
        <p:blipFill>
          <a:blip r:embed="rId6"/>
          <a:stretch>
            <a:fillRect/>
          </a:stretch>
        </p:blipFill>
        <p:spPr>
          <a:xfrm>
            <a:off x="8392724" y="3147980"/>
            <a:ext cx="2742717" cy="1254161"/>
          </a:xfrm>
          <a:prstGeom prst="rect">
            <a:avLst/>
          </a:prstGeom>
        </p:spPr>
      </p:pic>
      <p:pic>
        <p:nvPicPr>
          <p:cNvPr id="7" name="Picture 7" descr="Graphical user interface, application&#10;&#10;Description automatically generated">
            <a:extLst>
              <a:ext uri="{FF2B5EF4-FFF2-40B4-BE49-F238E27FC236}">
                <a16:creationId xmlns:a16="http://schemas.microsoft.com/office/drawing/2014/main" id="{696CD854-1EB3-4246-8788-32311953E2A5}"/>
              </a:ext>
            </a:extLst>
          </p:cNvPr>
          <p:cNvPicPr>
            <a:picLocks noChangeAspect="1"/>
          </p:cNvPicPr>
          <p:nvPr/>
        </p:nvPicPr>
        <p:blipFill>
          <a:blip r:embed="rId7"/>
          <a:stretch>
            <a:fillRect/>
          </a:stretch>
        </p:blipFill>
        <p:spPr>
          <a:xfrm>
            <a:off x="8540222" y="4441934"/>
            <a:ext cx="2437777" cy="2415309"/>
          </a:xfrm>
          <a:prstGeom prst="rect">
            <a:avLst/>
          </a:prstGeom>
        </p:spPr>
      </p:pic>
    </p:spTree>
    <p:extLst>
      <p:ext uri="{BB962C8B-B14F-4D97-AF65-F5344CB8AC3E}">
        <p14:creationId xmlns:p14="http://schemas.microsoft.com/office/powerpoint/2010/main" val="2697959778"/>
      </p:ext>
    </p:extLst>
  </p:cSld>
  <p:clrMapOvr>
    <a:masterClrMapping/>
  </p:clrMapOvr>
  <p:transition>
    <p:fade/>
  </p:transition>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9" name="Rectangle 22">
            <a:extLst>
              <a:ext uri="{FF2B5EF4-FFF2-40B4-BE49-F238E27FC236}">
                <a16:creationId xmlns:a16="http://schemas.microsoft.com/office/drawing/2014/main" id="{6F9EB9F2-07E2-4D64-BBD8-BB5B217F1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8012" y="326411"/>
            <a:ext cx="11780450" cy="6341702"/>
          </a:xfrm>
          <a:prstGeom prst="rect">
            <a:avLst/>
          </a:prstGeom>
          <a:solidFill>
            <a:schemeClr val="tx1">
              <a:alpha val="12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4B90FCF2-EECD-430D-9A80-C888748FFCE6}"/>
              </a:ext>
            </a:extLst>
          </p:cNvPr>
          <p:cNvSpPr>
            <a:spLocks noGrp="1"/>
          </p:cNvSpPr>
          <p:nvPr>
            <p:ph type="title"/>
          </p:nvPr>
        </p:nvSpPr>
        <p:spPr>
          <a:xfrm>
            <a:off x="4468427" y="984413"/>
            <a:ext cx="6901752" cy="5025697"/>
          </a:xfrm>
        </p:spPr>
        <p:txBody>
          <a:bodyPr vert="horz" lIns="91440" tIns="45720" rIns="91440" bIns="45720" rtlCol="0" anchor="ctr">
            <a:normAutofit/>
          </a:bodyPr>
          <a:lstStyle/>
          <a:p>
            <a:pPr defTabSz="914400"/>
            <a:r>
              <a:rPr lang="en-US" sz="5500">
                <a:solidFill>
                  <a:schemeClr val="tx1">
                    <a:lumMod val="85000"/>
                    <a:lumOff val="15000"/>
                  </a:schemeClr>
                </a:solidFill>
                <a:ea typeface="+mj-ea"/>
                <a:cs typeface="+mj-cs"/>
              </a:rPr>
              <a:t>Power Virtual Agent Overview</a:t>
            </a:r>
            <a:br>
              <a:rPr lang="en-US" sz="5500" kern="1200">
                <a:solidFill>
                  <a:schemeClr val="tx1">
                    <a:lumMod val="85000"/>
                    <a:lumOff val="15000"/>
                  </a:schemeClr>
                </a:solidFill>
                <a:latin typeface="+mj-lt"/>
                <a:ea typeface="+mj-ea"/>
                <a:cs typeface="+mj-cs"/>
              </a:rPr>
            </a:br>
            <a:endParaRPr lang="en-US" sz="5500" kern="1200">
              <a:solidFill>
                <a:schemeClr val="tx1">
                  <a:lumMod val="85000"/>
                  <a:lumOff val="15000"/>
                </a:schemeClr>
              </a:solidFill>
              <a:latin typeface="+mj-lt"/>
              <a:ea typeface="+mj-ea"/>
              <a:cs typeface="+mj-cs"/>
            </a:endParaRPr>
          </a:p>
        </p:txBody>
      </p:sp>
      <p:cxnSp>
        <p:nvCxnSpPr>
          <p:cNvPr id="30" name="Straight Connector 24">
            <a:extLst>
              <a:ext uri="{FF2B5EF4-FFF2-40B4-BE49-F238E27FC236}">
                <a16:creationId xmlns:a16="http://schemas.microsoft.com/office/drawing/2014/main" id="{F0C57C7C-DFE9-4A1E-B7A9-DF40E63366B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137220" y="2098356"/>
            <a:ext cx="0" cy="279781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940150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9EB481-07D4-4392-9DE5-D0678F93BAF6}"/>
              </a:ext>
            </a:extLst>
          </p:cNvPr>
          <p:cNvSpPr>
            <a:spLocks noGrp="1"/>
          </p:cNvSpPr>
          <p:nvPr>
            <p:ph type="title"/>
          </p:nvPr>
        </p:nvSpPr>
        <p:spPr/>
        <p:txBody>
          <a:bodyPr/>
          <a:lstStyle/>
          <a:p>
            <a:r>
              <a:rPr lang="en-US">
                <a:ea typeface="+mj-lt"/>
                <a:cs typeface="+mj-lt"/>
              </a:rPr>
              <a:t>Overview </a:t>
            </a:r>
            <a:endParaRPr lang="en-US"/>
          </a:p>
        </p:txBody>
      </p:sp>
      <p:sp>
        <p:nvSpPr>
          <p:cNvPr id="4" name="TextBox 3">
            <a:extLst>
              <a:ext uri="{FF2B5EF4-FFF2-40B4-BE49-F238E27FC236}">
                <a16:creationId xmlns:a16="http://schemas.microsoft.com/office/drawing/2014/main" id="{4BD5A158-0057-485E-8B9D-123B10405B86}"/>
              </a:ext>
            </a:extLst>
          </p:cNvPr>
          <p:cNvSpPr txBox="1"/>
          <p:nvPr/>
        </p:nvSpPr>
        <p:spPr>
          <a:xfrm>
            <a:off x="1191267" y="1287462"/>
            <a:ext cx="7949754" cy="7448193"/>
          </a:xfrm>
          <a:prstGeom prst="rect">
            <a:avLst/>
          </a:prstGeom>
          <a:noFill/>
        </p:spPr>
        <p:txBody>
          <a:bodyPr wrap="square" lIns="182880" tIns="146304" rIns="182880" bIns="146304" rtlCol="0" anchor="t">
            <a:spAutoFit/>
          </a:bodyPr>
          <a:lstStyle/>
          <a:p>
            <a:pPr>
              <a:lnSpc>
                <a:spcPct val="110000"/>
              </a:lnSpc>
              <a:spcBef>
                <a:spcPct val="20000"/>
              </a:spcBef>
            </a:pPr>
            <a:r>
              <a:rPr lang="en-GB" sz="2800" b="1">
                <a:solidFill>
                  <a:schemeClr val="tx1">
                    <a:lumMod val="50000"/>
                  </a:schemeClr>
                </a:solidFill>
                <a:ea typeface="+mn-lt"/>
                <a:cs typeface="+mn-lt"/>
              </a:rPr>
              <a:t>Power Virtual Agents </a:t>
            </a:r>
            <a:r>
              <a:rPr lang="en-GB" sz="2800">
                <a:solidFill>
                  <a:schemeClr val="tx1">
                    <a:lumMod val="50000"/>
                  </a:schemeClr>
                </a:solidFill>
                <a:ea typeface="+mn-lt"/>
                <a:cs typeface="+mn-lt"/>
              </a:rPr>
              <a:t>is a low-code / no-code, guided graphical interface solution that allows easy creation of chatbots by users of Microsoft Teams</a:t>
            </a:r>
            <a:endParaRPr lang="en-US" sz="2800">
              <a:solidFill>
                <a:schemeClr val="tx1">
                  <a:lumMod val="50000"/>
                </a:schemeClr>
              </a:solidFill>
              <a:ea typeface="+mn-lt"/>
              <a:cs typeface="+mn-lt"/>
            </a:endParaRPr>
          </a:p>
          <a:p>
            <a:pPr marL="342900" indent="-342900">
              <a:lnSpc>
                <a:spcPct val="110000"/>
              </a:lnSpc>
              <a:spcBef>
                <a:spcPct val="20000"/>
              </a:spcBef>
              <a:buFont typeface="Arial,Sans-Serif"/>
              <a:buChar char="•"/>
            </a:pPr>
            <a:endParaRPr lang="en-GB" sz="2800">
              <a:solidFill>
                <a:schemeClr val="tx1">
                  <a:lumMod val="50000"/>
                </a:schemeClr>
              </a:solidFill>
              <a:ea typeface="+mn-lt"/>
              <a:cs typeface="+mn-lt"/>
            </a:endParaRPr>
          </a:p>
          <a:p>
            <a:pPr>
              <a:lnSpc>
                <a:spcPct val="110000"/>
              </a:lnSpc>
              <a:spcBef>
                <a:spcPct val="20000"/>
              </a:spcBef>
            </a:pPr>
            <a:r>
              <a:rPr lang="en-GB" sz="2800">
                <a:solidFill>
                  <a:schemeClr val="tx1">
                    <a:lumMod val="50000"/>
                  </a:schemeClr>
                </a:solidFill>
                <a:ea typeface="+mn-lt"/>
                <a:cs typeface="+mn-lt"/>
              </a:rPr>
              <a:t>Chatbots in Teams to help employees with common issues and answer common questions</a:t>
            </a:r>
            <a:endParaRPr lang="en-US" sz="2800">
              <a:solidFill>
                <a:schemeClr val="tx1">
                  <a:lumMod val="50000"/>
                </a:schemeClr>
              </a:solidFill>
              <a:ea typeface="+mn-lt"/>
              <a:cs typeface="+mn-lt"/>
            </a:endParaRPr>
          </a:p>
          <a:p>
            <a:pPr>
              <a:lnSpc>
                <a:spcPct val="110000"/>
              </a:lnSpc>
              <a:spcBef>
                <a:spcPct val="20000"/>
              </a:spcBef>
            </a:pPr>
            <a:endParaRPr lang="en-GB" sz="2800">
              <a:solidFill>
                <a:schemeClr val="tx1">
                  <a:lumMod val="50000"/>
                </a:schemeClr>
              </a:solidFill>
              <a:ea typeface="+mn-lt"/>
              <a:cs typeface="+mn-lt"/>
            </a:endParaRPr>
          </a:p>
          <a:p>
            <a:pPr>
              <a:lnSpc>
                <a:spcPct val="110000"/>
              </a:lnSpc>
              <a:spcBef>
                <a:spcPct val="20000"/>
              </a:spcBef>
            </a:pPr>
            <a:r>
              <a:rPr lang="en-US" sz="2800">
                <a:solidFill>
                  <a:schemeClr val="tx1">
                    <a:lumMod val="50000"/>
                  </a:schemeClr>
                </a:solidFill>
                <a:ea typeface="+mn-lt"/>
                <a:cs typeface="+mn-lt"/>
              </a:rPr>
              <a:t>Chatbots in Teams are transforming how organizations engage with their employees </a:t>
            </a:r>
          </a:p>
          <a:p>
            <a:pPr marL="342900" indent="-342900">
              <a:lnSpc>
                <a:spcPct val="110000"/>
              </a:lnSpc>
              <a:spcBef>
                <a:spcPct val="20000"/>
              </a:spcBef>
              <a:buFont typeface="Arial,Sans-Serif"/>
              <a:buChar char="•"/>
            </a:pPr>
            <a:endParaRPr lang="en-GB" sz="2800">
              <a:solidFill>
                <a:schemeClr val="tx1">
                  <a:lumMod val="50000"/>
                </a:schemeClr>
              </a:solidFill>
              <a:ea typeface="+mn-lt"/>
              <a:cs typeface="+mn-lt"/>
            </a:endParaRPr>
          </a:p>
          <a:p>
            <a:pPr marL="342900" indent="-342900">
              <a:lnSpc>
                <a:spcPct val="110000"/>
              </a:lnSpc>
              <a:spcBef>
                <a:spcPct val="20000"/>
              </a:spcBef>
              <a:buFont typeface="Arial,Sans-Serif"/>
              <a:buChar char="•"/>
            </a:pPr>
            <a:endParaRPr lang="en-GB" sz="2800">
              <a:solidFill>
                <a:schemeClr val="tx1">
                  <a:lumMod val="50000"/>
                </a:schemeClr>
              </a:solidFill>
              <a:ea typeface="+mn-lt"/>
              <a:cs typeface="+mn-lt"/>
            </a:endParaRPr>
          </a:p>
          <a:p>
            <a:pPr marL="342900" indent="-342900">
              <a:lnSpc>
                <a:spcPct val="110000"/>
              </a:lnSpc>
              <a:spcBef>
                <a:spcPct val="20000"/>
              </a:spcBef>
              <a:buFont typeface="Arial,Sans-Serif"/>
              <a:buChar char="•"/>
            </a:pPr>
            <a:endParaRPr lang="en-US" sz="2800">
              <a:solidFill>
                <a:schemeClr val="tx1">
                  <a:lumMod val="50000"/>
                </a:schemeClr>
              </a:solidFill>
              <a:ea typeface="+mn-lt"/>
              <a:cs typeface="+mn-lt"/>
            </a:endParaRPr>
          </a:p>
          <a:p>
            <a:pPr>
              <a:lnSpc>
                <a:spcPct val="90000"/>
              </a:lnSpc>
              <a:spcAft>
                <a:spcPts val="600"/>
              </a:spcAft>
            </a:pPr>
            <a:endParaRPr lang="en-US" sz="2800">
              <a:solidFill>
                <a:schemeClr val="tx1">
                  <a:lumMod val="50000"/>
                </a:schemeClr>
              </a:solidFill>
              <a:cs typeface="Segoe UI"/>
            </a:endParaRPr>
          </a:p>
        </p:txBody>
      </p:sp>
      <p:pic>
        <p:nvPicPr>
          <p:cNvPr id="5" name="Graphic 1" descr="Add with solid fill">
            <a:extLst>
              <a:ext uri="{FF2B5EF4-FFF2-40B4-BE49-F238E27FC236}">
                <a16:creationId xmlns:a16="http://schemas.microsoft.com/office/drawing/2014/main" id="{FA6A6F50-2004-4C10-9B4D-0F04B081D3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411220" y="2835154"/>
            <a:ext cx="409328" cy="433338"/>
          </a:xfrm>
          <a:prstGeom prst="rect">
            <a:avLst/>
          </a:prstGeom>
        </p:spPr>
      </p:pic>
      <p:sp>
        <p:nvSpPr>
          <p:cNvPr id="6" name="Oval 5">
            <a:extLst>
              <a:ext uri="{FF2B5EF4-FFF2-40B4-BE49-F238E27FC236}">
                <a16:creationId xmlns:a16="http://schemas.microsoft.com/office/drawing/2014/main" id="{A885877D-29A7-4A9D-90D9-8F08D840B41B}"/>
              </a:ext>
            </a:extLst>
          </p:cNvPr>
          <p:cNvSpPr/>
          <p:nvPr/>
        </p:nvSpPr>
        <p:spPr bwMode="auto">
          <a:xfrm>
            <a:off x="9219308" y="2515167"/>
            <a:ext cx="1030161" cy="1049411"/>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sp>
        <p:nvSpPr>
          <p:cNvPr id="7" name="Oval 6">
            <a:extLst>
              <a:ext uri="{FF2B5EF4-FFF2-40B4-BE49-F238E27FC236}">
                <a16:creationId xmlns:a16="http://schemas.microsoft.com/office/drawing/2014/main" id="{2E0264A4-6AE2-4503-A004-190883109CF7}"/>
              </a:ext>
            </a:extLst>
          </p:cNvPr>
          <p:cNvSpPr/>
          <p:nvPr/>
        </p:nvSpPr>
        <p:spPr bwMode="auto">
          <a:xfrm>
            <a:off x="10982300" y="2515167"/>
            <a:ext cx="1030160" cy="1049411"/>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C5B42BAA-1D0C-4DF1-BAF0-02C001E494F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97483" y="2751927"/>
            <a:ext cx="599794" cy="59979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picture containing object, clock, drawing&#10;&#10;Description automatically generated">
            <a:extLst>
              <a:ext uri="{FF2B5EF4-FFF2-40B4-BE49-F238E27FC236}">
                <a16:creationId xmlns:a16="http://schemas.microsoft.com/office/drawing/2014/main" id="{87D4CA33-6524-43EF-84B7-033E0EAECB59}"/>
              </a:ext>
            </a:extLst>
          </p:cNvPr>
          <p:cNvPicPr>
            <a:picLocks noChangeAspect="1"/>
          </p:cNvPicPr>
          <p:nvPr/>
        </p:nvPicPr>
        <p:blipFill>
          <a:blip r:embed="rId7"/>
          <a:stretch>
            <a:fillRect/>
          </a:stretch>
        </p:blipFill>
        <p:spPr>
          <a:xfrm>
            <a:off x="9432453" y="2763271"/>
            <a:ext cx="568016" cy="553199"/>
          </a:xfrm>
          <a:prstGeom prst="rect">
            <a:avLst/>
          </a:prstGeom>
        </p:spPr>
      </p:pic>
      <p:pic>
        <p:nvPicPr>
          <p:cNvPr id="10" name="Graphic 6" descr="Head with gears outline">
            <a:extLst>
              <a:ext uri="{FF2B5EF4-FFF2-40B4-BE49-F238E27FC236}">
                <a16:creationId xmlns:a16="http://schemas.microsoft.com/office/drawing/2014/main" id="{868521E2-BE0E-400C-95C0-972E66A1B99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8793" y="1437595"/>
            <a:ext cx="614632" cy="614632"/>
          </a:xfrm>
          <a:prstGeom prst="rect">
            <a:avLst/>
          </a:prstGeom>
        </p:spPr>
      </p:pic>
      <p:pic>
        <p:nvPicPr>
          <p:cNvPr id="11" name="Graphic 7" descr="Questions outline">
            <a:extLst>
              <a:ext uri="{FF2B5EF4-FFF2-40B4-BE49-F238E27FC236}">
                <a16:creationId xmlns:a16="http://schemas.microsoft.com/office/drawing/2014/main" id="{AB9ADF1E-0285-4EB7-804B-5D9D33228DF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27161" y="3964901"/>
            <a:ext cx="659648" cy="659648"/>
          </a:xfrm>
          <a:prstGeom prst="rect">
            <a:avLst/>
          </a:prstGeom>
        </p:spPr>
      </p:pic>
      <p:pic>
        <p:nvPicPr>
          <p:cNvPr id="12" name="Graphic 8" descr="Group brainstorm outline">
            <a:extLst>
              <a:ext uri="{FF2B5EF4-FFF2-40B4-BE49-F238E27FC236}">
                <a16:creationId xmlns:a16="http://schemas.microsoft.com/office/drawing/2014/main" id="{3DF92860-30E8-4F25-A090-4FE4A413B08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76723" y="5546379"/>
            <a:ext cx="659648" cy="659648"/>
          </a:xfrm>
          <a:prstGeom prst="rect">
            <a:avLst/>
          </a:prstGeom>
        </p:spPr>
      </p:pic>
    </p:spTree>
    <p:extLst>
      <p:ext uri="{BB962C8B-B14F-4D97-AF65-F5344CB8AC3E}">
        <p14:creationId xmlns:p14="http://schemas.microsoft.com/office/powerpoint/2010/main" val="3105429849"/>
      </p:ext>
    </p:extLst>
  </p:cSld>
  <p:clrMapOvr>
    <a:masterClrMapping/>
  </p:clrMapOvr>
  <p:transition>
    <p:fade/>
  </p:transition>
  <p:extLst>
    <p:ext uri="{6950BFC3-D8DA-4A85-94F7-54DA5524770B}">
      <p188:commentRel xmlns:p188="http://schemas.microsoft.com/office/powerpoint/2018/8/main" r:id="rId3"/>
    </p:ext>
  </p:extLs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051C3D-1E40-423F-98BB-18248615729A}"/>
              </a:ext>
            </a:extLst>
          </p:cNvPr>
          <p:cNvSpPr>
            <a:spLocks noGrp="1"/>
          </p:cNvSpPr>
          <p:nvPr>
            <p:ph type="title"/>
          </p:nvPr>
        </p:nvSpPr>
        <p:spPr/>
        <p:txBody>
          <a:bodyPr/>
          <a:lstStyle/>
          <a:p>
            <a:r>
              <a:rPr lang="en-US">
                <a:ea typeface="+mj-lt"/>
                <a:cs typeface="+mj-lt"/>
              </a:rPr>
              <a:t>Lifecycle of a Power Virtual Agent chatbot </a:t>
            </a:r>
            <a:endParaRPr lang="en-US"/>
          </a:p>
        </p:txBody>
      </p:sp>
      <p:sp>
        <p:nvSpPr>
          <p:cNvPr id="4" name="Rectangle: Rounded Corners 3">
            <a:extLst>
              <a:ext uri="{FF2B5EF4-FFF2-40B4-BE49-F238E27FC236}">
                <a16:creationId xmlns:a16="http://schemas.microsoft.com/office/drawing/2014/main" id="{13605C21-32EB-4B34-8FE7-775D28C93658}"/>
              </a:ext>
            </a:extLst>
          </p:cNvPr>
          <p:cNvSpPr/>
          <p:nvPr/>
        </p:nvSpPr>
        <p:spPr bwMode="auto">
          <a:xfrm>
            <a:off x="2298299" y="1662695"/>
            <a:ext cx="2006220" cy="795210"/>
          </a:xfrm>
          <a:prstGeom prst="roundRect">
            <a:avLst>
              <a:gd name="adj" fmla="val 9428"/>
            </a:avLst>
          </a:prstGeom>
          <a:solidFill>
            <a:schemeClr val="bg1">
              <a:lumMod val="9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r>
              <a:rPr lang="en-US" sz="2000">
                <a:solidFill>
                  <a:schemeClr val="tx2"/>
                </a:solidFill>
                <a:ea typeface="Segoe UI" pitchFamily="34" charset="0"/>
                <a:cs typeface="Segoe UI" pitchFamily="34" charset="0"/>
              </a:rPr>
              <a:t>         </a:t>
            </a:r>
            <a:endParaRPr lang="en-GB" sz="2000">
              <a:solidFill>
                <a:schemeClr val="tx2"/>
              </a:solidFill>
              <a:ea typeface="Segoe UI" pitchFamily="34" charset="0"/>
              <a:cs typeface="Segoe UI" pitchFamily="34" charset="0"/>
            </a:endParaRPr>
          </a:p>
        </p:txBody>
      </p:sp>
      <p:pic>
        <p:nvPicPr>
          <p:cNvPr id="6" name="Graphic 5" descr="Line arrow: Straight with solid fill">
            <a:extLst>
              <a:ext uri="{FF2B5EF4-FFF2-40B4-BE49-F238E27FC236}">
                <a16:creationId xmlns:a16="http://schemas.microsoft.com/office/drawing/2014/main" id="{7982B0D3-C6F5-4A05-AE1F-36B0B10C3D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52821" y="4505803"/>
            <a:ext cx="932603" cy="932603"/>
          </a:xfrm>
          <a:prstGeom prst="rect">
            <a:avLst/>
          </a:prstGeom>
        </p:spPr>
      </p:pic>
      <p:pic>
        <p:nvPicPr>
          <p:cNvPr id="8" name="Graphic 7" descr="Line arrow: Straight with solid fill">
            <a:extLst>
              <a:ext uri="{FF2B5EF4-FFF2-40B4-BE49-F238E27FC236}">
                <a16:creationId xmlns:a16="http://schemas.microsoft.com/office/drawing/2014/main" id="{84C37F5E-9F3F-4D06-921C-68D2C790D33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4331431" y="1640673"/>
            <a:ext cx="932603" cy="932603"/>
          </a:xfrm>
          <a:prstGeom prst="rect">
            <a:avLst/>
          </a:prstGeom>
        </p:spPr>
      </p:pic>
      <p:pic>
        <p:nvPicPr>
          <p:cNvPr id="10" name="Graphic 9" descr="Line arrow: Straight with solid fill">
            <a:extLst>
              <a:ext uri="{FF2B5EF4-FFF2-40B4-BE49-F238E27FC236}">
                <a16:creationId xmlns:a16="http://schemas.microsoft.com/office/drawing/2014/main" id="{5168B7EA-721E-4766-9E22-9148296BA0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7269584" y="1617309"/>
            <a:ext cx="932603" cy="932603"/>
          </a:xfrm>
          <a:prstGeom prst="rect">
            <a:avLst/>
          </a:prstGeom>
        </p:spPr>
      </p:pic>
      <p:sp>
        <p:nvSpPr>
          <p:cNvPr id="12" name="TextBox 11">
            <a:extLst>
              <a:ext uri="{FF2B5EF4-FFF2-40B4-BE49-F238E27FC236}">
                <a16:creationId xmlns:a16="http://schemas.microsoft.com/office/drawing/2014/main" id="{7B2BDD4D-8345-4EC0-831B-12DA005B0AD0}"/>
              </a:ext>
            </a:extLst>
          </p:cNvPr>
          <p:cNvSpPr txBox="1"/>
          <p:nvPr/>
        </p:nvSpPr>
        <p:spPr>
          <a:xfrm>
            <a:off x="2307674" y="2517824"/>
            <a:ext cx="1988836" cy="847540"/>
          </a:xfrm>
          <a:prstGeom prst="rect">
            <a:avLst/>
          </a:prstGeom>
          <a:solidFill>
            <a:schemeClr val="tx2"/>
          </a:solidFill>
        </p:spPr>
        <p:txBody>
          <a:bodyPr wrap="square" lIns="0" tIns="0" rIns="0" bIns="0" rtlCol="0">
            <a:spAutoFit/>
          </a:bodyPr>
          <a:lstStyle/>
          <a:p>
            <a:pPr algn="ctr"/>
            <a:r>
              <a:rPr lang="en-GB">
                <a:solidFill>
                  <a:schemeClr val="bg1"/>
                </a:solidFill>
              </a:rPr>
              <a:t>Create using a simple graphical interface</a:t>
            </a:r>
          </a:p>
        </p:txBody>
      </p:sp>
      <p:sp>
        <p:nvSpPr>
          <p:cNvPr id="14" name="TextBox 13">
            <a:extLst>
              <a:ext uri="{FF2B5EF4-FFF2-40B4-BE49-F238E27FC236}">
                <a16:creationId xmlns:a16="http://schemas.microsoft.com/office/drawing/2014/main" id="{13BCB7D5-6DB9-4BEC-9B5D-7DC09FCA1148}"/>
              </a:ext>
            </a:extLst>
          </p:cNvPr>
          <p:cNvSpPr txBox="1"/>
          <p:nvPr/>
        </p:nvSpPr>
        <p:spPr>
          <a:xfrm>
            <a:off x="5298956" y="2540095"/>
            <a:ext cx="1970628" cy="565027"/>
          </a:xfrm>
          <a:prstGeom prst="rect">
            <a:avLst/>
          </a:prstGeom>
          <a:solidFill>
            <a:schemeClr val="tx2"/>
          </a:solidFill>
        </p:spPr>
        <p:txBody>
          <a:bodyPr wrap="square" lIns="0" tIns="0" rIns="0" bIns="0" rtlCol="0">
            <a:spAutoFit/>
          </a:bodyPr>
          <a:lstStyle/>
          <a:p>
            <a:pPr algn="ctr"/>
            <a:r>
              <a:rPr lang="en-GB">
                <a:solidFill>
                  <a:schemeClr val="bg1"/>
                </a:solidFill>
              </a:rPr>
              <a:t>User starter topics to build upon</a:t>
            </a:r>
          </a:p>
        </p:txBody>
      </p:sp>
      <p:sp>
        <p:nvSpPr>
          <p:cNvPr id="16" name="TextBox 15">
            <a:extLst>
              <a:ext uri="{FF2B5EF4-FFF2-40B4-BE49-F238E27FC236}">
                <a16:creationId xmlns:a16="http://schemas.microsoft.com/office/drawing/2014/main" id="{02511ED0-7428-4801-B86F-BBEF65FABA20}"/>
              </a:ext>
            </a:extLst>
          </p:cNvPr>
          <p:cNvSpPr txBox="1"/>
          <p:nvPr/>
        </p:nvSpPr>
        <p:spPr>
          <a:xfrm>
            <a:off x="8202187" y="2549990"/>
            <a:ext cx="1988836" cy="565027"/>
          </a:xfrm>
          <a:prstGeom prst="rect">
            <a:avLst/>
          </a:prstGeom>
          <a:solidFill>
            <a:schemeClr val="tx2"/>
          </a:solidFill>
        </p:spPr>
        <p:txBody>
          <a:bodyPr wrap="square" lIns="0" tIns="0" rIns="0" bIns="0" rtlCol="0">
            <a:spAutoFit/>
          </a:bodyPr>
          <a:lstStyle/>
          <a:p>
            <a:pPr algn="ctr"/>
            <a:r>
              <a:rPr lang="en-GB">
                <a:solidFill>
                  <a:schemeClr val="bg1"/>
                </a:solidFill>
              </a:rPr>
              <a:t>Author topics with variables, etc</a:t>
            </a:r>
            <a:r>
              <a:rPr lang="en-GB" sz="1400">
                <a:solidFill>
                  <a:schemeClr val="bg1"/>
                </a:solidFill>
              </a:rPr>
              <a:t>. </a:t>
            </a:r>
          </a:p>
        </p:txBody>
      </p:sp>
      <p:sp>
        <p:nvSpPr>
          <p:cNvPr id="18" name="TextBox 17">
            <a:extLst>
              <a:ext uri="{FF2B5EF4-FFF2-40B4-BE49-F238E27FC236}">
                <a16:creationId xmlns:a16="http://schemas.microsoft.com/office/drawing/2014/main" id="{2CCB4673-6604-4519-8D08-754A6633B1F9}"/>
              </a:ext>
            </a:extLst>
          </p:cNvPr>
          <p:cNvSpPr txBox="1"/>
          <p:nvPr/>
        </p:nvSpPr>
        <p:spPr>
          <a:xfrm>
            <a:off x="6720339" y="5410232"/>
            <a:ext cx="1999516" cy="847540"/>
          </a:xfrm>
          <a:prstGeom prst="rect">
            <a:avLst/>
          </a:prstGeom>
          <a:solidFill>
            <a:schemeClr val="tx2"/>
          </a:solidFill>
        </p:spPr>
        <p:txBody>
          <a:bodyPr wrap="square" lIns="0" tIns="0" rIns="0" bIns="0" rtlCol="0">
            <a:spAutoFit/>
          </a:bodyPr>
          <a:lstStyle/>
          <a:p>
            <a:pPr algn="ctr"/>
            <a:r>
              <a:rPr lang="en-GB">
                <a:solidFill>
                  <a:schemeClr val="bg1"/>
                </a:solidFill>
              </a:rPr>
              <a:t>Extend activities for more complex scenarios </a:t>
            </a:r>
          </a:p>
        </p:txBody>
      </p:sp>
      <p:sp>
        <p:nvSpPr>
          <p:cNvPr id="20" name="TextBox 19">
            <a:extLst>
              <a:ext uri="{FF2B5EF4-FFF2-40B4-BE49-F238E27FC236}">
                <a16:creationId xmlns:a16="http://schemas.microsoft.com/office/drawing/2014/main" id="{7A08817C-B39D-4ED6-89FD-74F1EF56CC21}"/>
              </a:ext>
            </a:extLst>
          </p:cNvPr>
          <p:cNvSpPr txBox="1"/>
          <p:nvPr/>
        </p:nvSpPr>
        <p:spPr>
          <a:xfrm>
            <a:off x="3567642" y="5386523"/>
            <a:ext cx="1809776" cy="565027"/>
          </a:xfrm>
          <a:prstGeom prst="rect">
            <a:avLst/>
          </a:prstGeom>
          <a:solidFill>
            <a:schemeClr val="tx2"/>
          </a:solidFill>
        </p:spPr>
        <p:txBody>
          <a:bodyPr wrap="square" lIns="0" tIns="0" rIns="0" bIns="0" rtlCol="0">
            <a:spAutoFit/>
          </a:bodyPr>
          <a:lstStyle/>
          <a:p>
            <a:pPr algn="ctr"/>
            <a:r>
              <a:rPr lang="en-GB">
                <a:solidFill>
                  <a:schemeClr val="bg1"/>
                </a:solidFill>
              </a:rPr>
              <a:t>Publish to Microsoft Teams </a:t>
            </a:r>
          </a:p>
        </p:txBody>
      </p:sp>
      <p:sp>
        <p:nvSpPr>
          <p:cNvPr id="22" name="TextBox 21">
            <a:extLst>
              <a:ext uri="{FF2B5EF4-FFF2-40B4-BE49-F238E27FC236}">
                <a16:creationId xmlns:a16="http://schemas.microsoft.com/office/drawing/2014/main" id="{5EBD40E3-75EB-4DD8-8D12-5A94B888A33F}"/>
              </a:ext>
            </a:extLst>
          </p:cNvPr>
          <p:cNvSpPr txBox="1"/>
          <p:nvPr/>
        </p:nvSpPr>
        <p:spPr>
          <a:xfrm>
            <a:off x="361084" y="4221955"/>
            <a:ext cx="1937214" cy="847540"/>
          </a:xfrm>
          <a:prstGeom prst="rect">
            <a:avLst/>
          </a:prstGeom>
          <a:solidFill>
            <a:schemeClr val="tx2"/>
          </a:solidFill>
        </p:spPr>
        <p:txBody>
          <a:bodyPr wrap="square" lIns="0" tIns="0" rIns="0" bIns="0" rtlCol="0">
            <a:spAutoFit/>
          </a:bodyPr>
          <a:lstStyle/>
          <a:p>
            <a:pPr algn="l"/>
            <a:r>
              <a:rPr lang="en-GB">
                <a:solidFill>
                  <a:schemeClr val="bg1"/>
                </a:solidFill>
              </a:rPr>
              <a:t>Monitor performance and improve</a:t>
            </a:r>
          </a:p>
        </p:txBody>
      </p:sp>
      <p:sp>
        <p:nvSpPr>
          <p:cNvPr id="24" name="TextBox 23">
            <a:extLst>
              <a:ext uri="{FF2B5EF4-FFF2-40B4-BE49-F238E27FC236}">
                <a16:creationId xmlns:a16="http://schemas.microsoft.com/office/drawing/2014/main" id="{63D94536-D990-4C25-8CAF-0028E50CF2CE}"/>
              </a:ext>
            </a:extLst>
          </p:cNvPr>
          <p:cNvSpPr txBox="1"/>
          <p:nvPr/>
        </p:nvSpPr>
        <p:spPr>
          <a:xfrm>
            <a:off x="10120611" y="4190297"/>
            <a:ext cx="2038737" cy="565027"/>
          </a:xfrm>
          <a:prstGeom prst="rect">
            <a:avLst/>
          </a:prstGeom>
          <a:solidFill>
            <a:schemeClr val="tx2"/>
          </a:solidFill>
        </p:spPr>
        <p:txBody>
          <a:bodyPr wrap="square" lIns="0" tIns="0" rIns="0" bIns="0" rtlCol="0">
            <a:spAutoFit/>
          </a:bodyPr>
          <a:lstStyle/>
          <a:p>
            <a:pPr algn="r"/>
            <a:r>
              <a:rPr lang="en-GB">
                <a:solidFill>
                  <a:schemeClr val="bg1"/>
                </a:solidFill>
              </a:rPr>
              <a:t>Configure topics details </a:t>
            </a:r>
          </a:p>
        </p:txBody>
      </p:sp>
      <p:pic>
        <p:nvPicPr>
          <p:cNvPr id="26" name="Graphic 25" descr="Line arrow: Straight with solid fill">
            <a:extLst>
              <a:ext uri="{FF2B5EF4-FFF2-40B4-BE49-F238E27FC236}">
                <a16:creationId xmlns:a16="http://schemas.microsoft.com/office/drawing/2014/main" id="{FECBBD70-F946-421C-9CFB-4BE8E529AE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3385771">
            <a:off x="10436474" y="2142107"/>
            <a:ext cx="932603" cy="932603"/>
          </a:xfrm>
          <a:prstGeom prst="rect">
            <a:avLst/>
          </a:prstGeom>
        </p:spPr>
      </p:pic>
      <p:pic>
        <p:nvPicPr>
          <p:cNvPr id="28" name="Graphic 27" descr="Line arrow: Straight with solid fill">
            <a:extLst>
              <a:ext uri="{FF2B5EF4-FFF2-40B4-BE49-F238E27FC236}">
                <a16:creationId xmlns:a16="http://schemas.microsoft.com/office/drawing/2014/main" id="{FF64CA95-5FF7-4E72-BF5C-1C22A534DBC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8705447">
            <a:off x="1240116" y="2400799"/>
            <a:ext cx="932603" cy="932603"/>
          </a:xfrm>
          <a:prstGeom prst="rect">
            <a:avLst/>
          </a:prstGeom>
        </p:spPr>
      </p:pic>
      <p:pic>
        <p:nvPicPr>
          <p:cNvPr id="30" name="Graphic 29" descr="Tools with solid fill">
            <a:extLst>
              <a:ext uri="{FF2B5EF4-FFF2-40B4-BE49-F238E27FC236}">
                <a16:creationId xmlns:a16="http://schemas.microsoft.com/office/drawing/2014/main" id="{063A7246-81B3-4950-AF35-1DCDA72DC8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51917" y="1805038"/>
            <a:ext cx="516524" cy="516524"/>
          </a:xfrm>
          <a:prstGeom prst="rect">
            <a:avLst/>
          </a:prstGeom>
        </p:spPr>
      </p:pic>
      <p:pic>
        <p:nvPicPr>
          <p:cNvPr id="32" name="Graphic 31" descr="Line arrow: Straight with solid fill">
            <a:extLst>
              <a:ext uri="{FF2B5EF4-FFF2-40B4-BE49-F238E27FC236}">
                <a16:creationId xmlns:a16="http://schemas.microsoft.com/office/drawing/2014/main" id="{EC6FAB9A-CDC1-45E5-BA12-6302060A33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9909889">
            <a:off x="9110906" y="4289021"/>
            <a:ext cx="932603" cy="932603"/>
          </a:xfrm>
          <a:prstGeom prst="rect">
            <a:avLst/>
          </a:prstGeom>
        </p:spPr>
      </p:pic>
      <p:pic>
        <p:nvPicPr>
          <p:cNvPr id="34" name="Graphic 33" descr="Line arrow: Straight with solid fill">
            <a:extLst>
              <a:ext uri="{FF2B5EF4-FFF2-40B4-BE49-F238E27FC236}">
                <a16:creationId xmlns:a16="http://schemas.microsoft.com/office/drawing/2014/main" id="{D7650C0A-EEA0-4BEB-A2B8-7820C604EF6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665329">
            <a:off x="2227768" y="4235720"/>
            <a:ext cx="932603" cy="932603"/>
          </a:xfrm>
          <a:prstGeom prst="rect">
            <a:avLst/>
          </a:prstGeom>
        </p:spPr>
      </p:pic>
      <p:sp>
        <p:nvSpPr>
          <p:cNvPr id="36" name="Rectangle: Rounded Corners 35">
            <a:extLst>
              <a:ext uri="{FF2B5EF4-FFF2-40B4-BE49-F238E27FC236}">
                <a16:creationId xmlns:a16="http://schemas.microsoft.com/office/drawing/2014/main" id="{06EA9DFB-F1F8-4E5D-8F23-02E02F91A164}"/>
              </a:ext>
            </a:extLst>
          </p:cNvPr>
          <p:cNvSpPr/>
          <p:nvPr/>
        </p:nvSpPr>
        <p:spPr bwMode="auto">
          <a:xfrm>
            <a:off x="5270699" y="1672652"/>
            <a:ext cx="2006220" cy="795210"/>
          </a:xfrm>
          <a:prstGeom prst="roundRect">
            <a:avLst>
              <a:gd name="adj" fmla="val 9428"/>
            </a:avLst>
          </a:prstGeom>
          <a:solidFill>
            <a:schemeClr val="bg1">
              <a:lumMod val="9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r>
              <a:rPr lang="en-US" sz="2000">
                <a:solidFill>
                  <a:schemeClr val="tx2"/>
                </a:solidFill>
                <a:ea typeface="Segoe UI" pitchFamily="34" charset="0"/>
                <a:cs typeface="Segoe UI" pitchFamily="34" charset="0"/>
              </a:rPr>
              <a:t>             </a:t>
            </a:r>
            <a:endParaRPr lang="en-GB" sz="2000">
              <a:solidFill>
                <a:schemeClr val="tx2"/>
              </a:solidFill>
              <a:ea typeface="Segoe UI" pitchFamily="34" charset="0"/>
              <a:cs typeface="Segoe UI" pitchFamily="34" charset="0"/>
            </a:endParaRPr>
          </a:p>
        </p:txBody>
      </p:sp>
      <p:sp>
        <p:nvSpPr>
          <p:cNvPr id="38" name="Rectangle: Rounded Corners 37">
            <a:extLst>
              <a:ext uri="{FF2B5EF4-FFF2-40B4-BE49-F238E27FC236}">
                <a16:creationId xmlns:a16="http://schemas.microsoft.com/office/drawing/2014/main" id="{A38BC492-7E53-4B4D-9ECE-AFEECF1A1CAC}"/>
              </a:ext>
            </a:extLst>
          </p:cNvPr>
          <p:cNvSpPr/>
          <p:nvPr/>
        </p:nvSpPr>
        <p:spPr bwMode="auto">
          <a:xfrm>
            <a:off x="8202188" y="1672468"/>
            <a:ext cx="2006220" cy="795210"/>
          </a:xfrm>
          <a:prstGeom prst="roundRect">
            <a:avLst>
              <a:gd name="adj" fmla="val 9428"/>
            </a:avLst>
          </a:prstGeom>
          <a:solidFill>
            <a:schemeClr val="bg1">
              <a:lumMod val="9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GB" sz="1200" b="1">
              <a:solidFill>
                <a:srgbClr val="009999"/>
              </a:solidFill>
              <a:ea typeface="Segoe UI" pitchFamily="34" charset="0"/>
              <a:cs typeface="Segoe UI" pitchFamily="34" charset="0"/>
            </a:endParaRPr>
          </a:p>
        </p:txBody>
      </p:sp>
      <p:sp>
        <p:nvSpPr>
          <p:cNvPr id="40" name="TextBox 39">
            <a:extLst>
              <a:ext uri="{FF2B5EF4-FFF2-40B4-BE49-F238E27FC236}">
                <a16:creationId xmlns:a16="http://schemas.microsoft.com/office/drawing/2014/main" id="{95D1E803-CC27-4B92-ADB7-90113625408C}"/>
              </a:ext>
            </a:extLst>
          </p:cNvPr>
          <p:cNvSpPr txBox="1"/>
          <p:nvPr/>
        </p:nvSpPr>
        <p:spPr>
          <a:xfrm>
            <a:off x="9110023" y="1926658"/>
            <a:ext cx="869423" cy="313904"/>
          </a:xfrm>
          <a:prstGeom prst="rect">
            <a:avLst/>
          </a:prstGeom>
          <a:noFill/>
        </p:spPr>
        <p:txBody>
          <a:bodyPr wrap="square" lIns="0" tIns="0" rIns="0" bIns="0" rtlCol="0">
            <a:spAutoFit/>
          </a:bodyPr>
          <a:lstStyle/>
          <a:p>
            <a:pPr algn="l"/>
            <a:r>
              <a:rPr lang="en-GB" sz="2000">
                <a:latin typeface="+mj-lt"/>
              </a:rPr>
              <a:t>Teach</a:t>
            </a:r>
          </a:p>
        </p:txBody>
      </p:sp>
      <p:sp>
        <p:nvSpPr>
          <p:cNvPr id="42" name="Rectangle: Rounded Corners 41">
            <a:extLst>
              <a:ext uri="{FF2B5EF4-FFF2-40B4-BE49-F238E27FC236}">
                <a16:creationId xmlns:a16="http://schemas.microsoft.com/office/drawing/2014/main" id="{38BEB4BE-D92B-4C91-B603-9177CBE2A1DF}"/>
              </a:ext>
            </a:extLst>
          </p:cNvPr>
          <p:cNvSpPr/>
          <p:nvPr/>
        </p:nvSpPr>
        <p:spPr bwMode="auto">
          <a:xfrm>
            <a:off x="10120611" y="3334671"/>
            <a:ext cx="2006220" cy="795210"/>
          </a:xfrm>
          <a:prstGeom prst="roundRect">
            <a:avLst>
              <a:gd name="adj" fmla="val 9428"/>
            </a:avLst>
          </a:prstGeom>
          <a:solidFill>
            <a:schemeClr val="bg1">
              <a:lumMod val="9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r>
              <a:rPr lang="en-US" sz="2000">
                <a:solidFill>
                  <a:schemeClr val="tx2"/>
                </a:solidFill>
                <a:ea typeface="Segoe UI" pitchFamily="34" charset="0"/>
                <a:cs typeface="Segoe UI" pitchFamily="34" charset="0"/>
              </a:rPr>
              <a:t>      </a:t>
            </a:r>
            <a:endParaRPr lang="en-GB" sz="2000">
              <a:solidFill>
                <a:schemeClr val="tx2"/>
              </a:solidFill>
              <a:ea typeface="Segoe UI" pitchFamily="34" charset="0"/>
              <a:cs typeface="Segoe UI" pitchFamily="34" charset="0"/>
            </a:endParaRPr>
          </a:p>
        </p:txBody>
      </p:sp>
      <p:grpSp>
        <p:nvGrpSpPr>
          <p:cNvPr id="46" name="Group 45">
            <a:extLst>
              <a:ext uri="{FF2B5EF4-FFF2-40B4-BE49-F238E27FC236}">
                <a16:creationId xmlns:a16="http://schemas.microsoft.com/office/drawing/2014/main" id="{3FFB48D4-DA5B-4C1B-850A-5CD23BA7D9E1}"/>
              </a:ext>
            </a:extLst>
          </p:cNvPr>
          <p:cNvGrpSpPr>
            <a:grpSpLocks noChangeAspect="1"/>
          </p:cNvGrpSpPr>
          <p:nvPr/>
        </p:nvGrpSpPr>
        <p:grpSpPr>
          <a:xfrm>
            <a:off x="10279850" y="3516351"/>
            <a:ext cx="501096" cy="444091"/>
            <a:chOff x="5345113" y="3798888"/>
            <a:chExt cx="431799" cy="345296"/>
          </a:xfrm>
          <a:solidFill>
            <a:srgbClr val="009999"/>
          </a:solidFill>
        </p:grpSpPr>
        <p:sp>
          <p:nvSpPr>
            <p:cNvPr id="44" name="Freeform 59">
              <a:extLst>
                <a:ext uri="{FF2B5EF4-FFF2-40B4-BE49-F238E27FC236}">
                  <a16:creationId xmlns:a16="http://schemas.microsoft.com/office/drawing/2014/main" id="{5680D045-6D79-40C7-B690-6D4382624D73}"/>
                </a:ext>
              </a:extLst>
            </p:cNvPr>
            <p:cNvSpPr>
              <a:spLocks noEditPoints="1"/>
            </p:cNvSpPr>
            <p:nvPr/>
          </p:nvSpPr>
          <p:spPr bwMode="auto">
            <a:xfrm>
              <a:off x="5345113" y="3947334"/>
              <a:ext cx="193675" cy="196850"/>
            </a:xfrm>
            <a:custGeom>
              <a:avLst/>
              <a:gdLst>
                <a:gd name="T0" fmla="*/ 48 w 54"/>
                <a:gd name="T1" fmla="*/ 23 h 55"/>
                <a:gd name="T2" fmla="*/ 45 w 54"/>
                <a:gd name="T3" fmla="*/ 21 h 55"/>
                <a:gd name="T4" fmla="*/ 44 w 54"/>
                <a:gd name="T5" fmla="*/ 16 h 55"/>
                <a:gd name="T6" fmla="*/ 48 w 54"/>
                <a:gd name="T7" fmla="*/ 10 h 55"/>
                <a:gd name="T8" fmla="*/ 42 w 54"/>
                <a:gd name="T9" fmla="*/ 7 h 55"/>
                <a:gd name="T10" fmla="*/ 36 w 54"/>
                <a:gd name="T11" fmla="*/ 11 h 55"/>
                <a:gd name="T12" fmla="*/ 31 w 54"/>
                <a:gd name="T13" fmla="*/ 7 h 55"/>
                <a:gd name="T14" fmla="*/ 29 w 54"/>
                <a:gd name="T15" fmla="*/ 0 h 55"/>
                <a:gd name="T16" fmla="*/ 23 w 54"/>
                <a:gd name="T17" fmla="*/ 2 h 55"/>
                <a:gd name="T18" fmla="*/ 21 w 54"/>
                <a:gd name="T19" fmla="*/ 10 h 55"/>
                <a:gd name="T20" fmla="*/ 15 w 54"/>
                <a:gd name="T21" fmla="*/ 10 h 55"/>
                <a:gd name="T22" fmla="*/ 9 w 54"/>
                <a:gd name="T23" fmla="*/ 7 h 55"/>
                <a:gd name="T24" fmla="*/ 7 w 54"/>
                <a:gd name="T25" fmla="*/ 12 h 55"/>
                <a:gd name="T26" fmla="*/ 10 w 54"/>
                <a:gd name="T27" fmla="*/ 19 h 55"/>
                <a:gd name="T28" fmla="*/ 9 w 54"/>
                <a:gd name="T29" fmla="*/ 21 h 55"/>
                <a:gd name="T30" fmla="*/ 6 w 54"/>
                <a:gd name="T31" fmla="*/ 23 h 55"/>
                <a:gd name="T32" fmla="*/ 0 w 54"/>
                <a:gd name="T33" fmla="*/ 26 h 55"/>
                <a:gd name="T34" fmla="*/ 2 w 54"/>
                <a:gd name="T35" fmla="*/ 31 h 55"/>
                <a:gd name="T36" fmla="*/ 9 w 54"/>
                <a:gd name="T37" fmla="*/ 34 h 55"/>
                <a:gd name="T38" fmla="*/ 10 w 54"/>
                <a:gd name="T39" fmla="*/ 36 h 55"/>
                <a:gd name="T40" fmla="*/ 10 w 54"/>
                <a:gd name="T41" fmla="*/ 39 h 55"/>
                <a:gd name="T42" fmla="*/ 7 w 54"/>
                <a:gd name="T43" fmla="*/ 45 h 55"/>
                <a:gd name="T44" fmla="*/ 12 w 54"/>
                <a:gd name="T45" fmla="*/ 48 h 55"/>
                <a:gd name="T46" fmla="*/ 19 w 54"/>
                <a:gd name="T47" fmla="*/ 45 h 55"/>
                <a:gd name="T48" fmla="*/ 21 w 54"/>
                <a:gd name="T49" fmla="*/ 45 h 55"/>
                <a:gd name="T50" fmla="*/ 23 w 54"/>
                <a:gd name="T51" fmla="*/ 48 h 55"/>
                <a:gd name="T52" fmla="*/ 25 w 54"/>
                <a:gd name="T53" fmla="*/ 55 h 55"/>
                <a:gd name="T54" fmla="*/ 31 w 54"/>
                <a:gd name="T55" fmla="*/ 53 h 55"/>
                <a:gd name="T56" fmla="*/ 33 w 54"/>
                <a:gd name="T57" fmla="*/ 46 h 55"/>
                <a:gd name="T58" fmla="*/ 35 w 54"/>
                <a:gd name="T59" fmla="*/ 45 h 55"/>
                <a:gd name="T60" fmla="*/ 39 w 54"/>
                <a:gd name="T61" fmla="*/ 45 h 55"/>
                <a:gd name="T62" fmla="*/ 45 w 54"/>
                <a:gd name="T63" fmla="*/ 48 h 55"/>
                <a:gd name="T64" fmla="*/ 48 w 54"/>
                <a:gd name="T65" fmla="*/ 43 h 55"/>
                <a:gd name="T66" fmla="*/ 44 w 54"/>
                <a:gd name="T67" fmla="*/ 36 h 55"/>
                <a:gd name="T68" fmla="*/ 45 w 54"/>
                <a:gd name="T69" fmla="*/ 34 h 55"/>
                <a:gd name="T70" fmla="*/ 48 w 54"/>
                <a:gd name="T71" fmla="*/ 32 h 55"/>
                <a:gd name="T72" fmla="*/ 54 w 54"/>
                <a:gd name="T73" fmla="*/ 30 h 55"/>
                <a:gd name="T74" fmla="*/ 52 w 54"/>
                <a:gd name="T75" fmla="*/ 24 h 55"/>
                <a:gd name="T76" fmla="*/ 17 w 54"/>
                <a:gd name="T77" fmla="*/ 28 h 55"/>
                <a:gd name="T78" fmla="*/ 37 w 54"/>
                <a:gd name="T79"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 h="55">
                  <a:moveTo>
                    <a:pt x="52" y="24"/>
                  </a:moveTo>
                  <a:cubicBezTo>
                    <a:pt x="48" y="23"/>
                    <a:pt x="48" y="23"/>
                    <a:pt x="48" y="23"/>
                  </a:cubicBezTo>
                  <a:cubicBezTo>
                    <a:pt x="46" y="23"/>
                    <a:pt x="45" y="22"/>
                    <a:pt x="45" y="21"/>
                  </a:cubicBezTo>
                  <a:cubicBezTo>
                    <a:pt x="45" y="21"/>
                    <a:pt x="45" y="21"/>
                    <a:pt x="45" y="21"/>
                  </a:cubicBezTo>
                  <a:cubicBezTo>
                    <a:pt x="45" y="21"/>
                    <a:pt x="44" y="20"/>
                    <a:pt x="44" y="19"/>
                  </a:cubicBezTo>
                  <a:cubicBezTo>
                    <a:pt x="44" y="18"/>
                    <a:pt x="43" y="17"/>
                    <a:pt x="44" y="16"/>
                  </a:cubicBezTo>
                  <a:cubicBezTo>
                    <a:pt x="48" y="12"/>
                    <a:pt x="48" y="12"/>
                    <a:pt x="48" y="12"/>
                  </a:cubicBezTo>
                  <a:cubicBezTo>
                    <a:pt x="48" y="11"/>
                    <a:pt x="48" y="10"/>
                    <a:pt x="48" y="10"/>
                  </a:cubicBezTo>
                  <a:cubicBezTo>
                    <a:pt x="45" y="7"/>
                    <a:pt x="45" y="7"/>
                    <a:pt x="45" y="7"/>
                  </a:cubicBezTo>
                  <a:cubicBezTo>
                    <a:pt x="44" y="7"/>
                    <a:pt x="43" y="6"/>
                    <a:pt x="42" y="7"/>
                  </a:cubicBezTo>
                  <a:cubicBezTo>
                    <a:pt x="39" y="10"/>
                    <a:pt x="39" y="10"/>
                    <a:pt x="39" y="10"/>
                  </a:cubicBezTo>
                  <a:cubicBezTo>
                    <a:pt x="37" y="11"/>
                    <a:pt x="36" y="11"/>
                    <a:pt x="36" y="11"/>
                  </a:cubicBezTo>
                  <a:cubicBezTo>
                    <a:pt x="35" y="10"/>
                    <a:pt x="34" y="10"/>
                    <a:pt x="33" y="9"/>
                  </a:cubicBezTo>
                  <a:cubicBezTo>
                    <a:pt x="32" y="9"/>
                    <a:pt x="31" y="8"/>
                    <a:pt x="31" y="7"/>
                  </a:cubicBezTo>
                  <a:cubicBezTo>
                    <a:pt x="31" y="2"/>
                    <a:pt x="31" y="2"/>
                    <a:pt x="31" y="2"/>
                  </a:cubicBezTo>
                  <a:cubicBezTo>
                    <a:pt x="31" y="1"/>
                    <a:pt x="30" y="0"/>
                    <a:pt x="29" y="0"/>
                  </a:cubicBezTo>
                  <a:cubicBezTo>
                    <a:pt x="25" y="0"/>
                    <a:pt x="25" y="0"/>
                    <a:pt x="25" y="0"/>
                  </a:cubicBezTo>
                  <a:cubicBezTo>
                    <a:pt x="24" y="0"/>
                    <a:pt x="24" y="1"/>
                    <a:pt x="23" y="2"/>
                  </a:cubicBezTo>
                  <a:cubicBezTo>
                    <a:pt x="23" y="7"/>
                    <a:pt x="23" y="7"/>
                    <a:pt x="23" y="7"/>
                  </a:cubicBezTo>
                  <a:cubicBezTo>
                    <a:pt x="23" y="9"/>
                    <a:pt x="22" y="9"/>
                    <a:pt x="21" y="10"/>
                  </a:cubicBezTo>
                  <a:cubicBezTo>
                    <a:pt x="20" y="10"/>
                    <a:pt x="19" y="10"/>
                    <a:pt x="19" y="11"/>
                  </a:cubicBezTo>
                  <a:cubicBezTo>
                    <a:pt x="18" y="11"/>
                    <a:pt x="17" y="11"/>
                    <a:pt x="15" y="10"/>
                  </a:cubicBezTo>
                  <a:cubicBezTo>
                    <a:pt x="12" y="7"/>
                    <a:pt x="12" y="7"/>
                    <a:pt x="12" y="7"/>
                  </a:cubicBezTo>
                  <a:cubicBezTo>
                    <a:pt x="11" y="6"/>
                    <a:pt x="10" y="7"/>
                    <a:pt x="9" y="7"/>
                  </a:cubicBezTo>
                  <a:cubicBezTo>
                    <a:pt x="7" y="10"/>
                    <a:pt x="7" y="10"/>
                    <a:pt x="7" y="10"/>
                  </a:cubicBezTo>
                  <a:cubicBezTo>
                    <a:pt x="6" y="10"/>
                    <a:pt x="6" y="11"/>
                    <a:pt x="7" y="12"/>
                  </a:cubicBezTo>
                  <a:cubicBezTo>
                    <a:pt x="10" y="16"/>
                    <a:pt x="10" y="16"/>
                    <a:pt x="10" y="16"/>
                  </a:cubicBezTo>
                  <a:cubicBezTo>
                    <a:pt x="11" y="17"/>
                    <a:pt x="10" y="18"/>
                    <a:pt x="10" y="19"/>
                  </a:cubicBezTo>
                  <a:cubicBezTo>
                    <a:pt x="10" y="19"/>
                    <a:pt x="10" y="19"/>
                    <a:pt x="10" y="19"/>
                  </a:cubicBezTo>
                  <a:cubicBezTo>
                    <a:pt x="10" y="20"/>
                    <a:pt x="9" y="21"/>
                    <a:pt x="9" y="21"/>
                  </a:cubicBezTo>
                  <a:cubicBezTo>
                    <a:pt x="9" y="21"/>
                    <a:pt x="9" y="21"/>
                    <a:pt x="9" y="21"/>
                  </a:cubicBezTo>
                  <a:cubicBezTo>
                    <a:pt x="9" y="22"/>
                    <a:pt x="8" y="23"/>
                    <a:pt x="6" y="23"/>
                  </a:cubicBezTo>
                  <a:cubicBezTo>
                    <a:pt x="2" y="24"/>
                    <a:pt x="2" y="24"/>
                    <a:pt x="2" y="24"/>
                  </a:cubicBezTo>
                  <a:cubicBezTo>
                    <a:pt x="1" y="24"/>
                    <a:pt x="0" y="25"/>
                    <a:pt x="0" y="26"/>
                  </a:cubicBezTo>
                  <a:cubicBezTo>
                    <a:pt x="0" y="30"/>
                    <a:pt x="0" y="30"/>
                    <a:pt x="0" y="30"/>
                  </a:cubicBezTo>
                  <a:cubicBezTo>
                    <a:pt x="0" y="30"/>
                    <a:pt x="1" y="31"/>
                    <a:pt x="2" y="31"/>
                  </a:cubicBezTo>
                  <a:cubicBezTo>
                    <a:pt x="6" y="32"/>
                    <a:pt x="6" y="32"/>
                    <a:pt x="6" y="32"/>
                  </a:cubicBezTo>
                  <a:cubicBezTo>
                    <a:pt x="8" y="32"/>
                    <a:pt x="9" y="33"/>
                    <a:pt x="9" y="34"/>
                  </a:cubicBezTo>
                  <a:cubicBezTo>
                    <a:pt x="9" y="34"/>
                    <a:pt x="9" y="34"/>
                    <a:pt x="9" y="34"/>
                  </a:cubicBezTo>
                  <a:cubicBezTo>
                    <a:pt x="9" y="34"/>
                    <a:pt x="10" y="35"/>
                    <a:pt x="10" y="36"/>
                  </a:cubicBezTo>
                  <a:cubicBezTo>
                    <a:pt x="10" y="36"/>
                    <a:pt x="10" y="36"/>
                    <a:pt x="10" y="36"/>
                  </a:cubicBezTo>
                  <a:cubicBezTo>
                    <a:pt x="10" y="37"/>
                    <a:pt x="11" y="38"/>
                    <a:pt x="10" y="39"/>
                  </a:cubicBezTo>
                  <a:cubicBezTo>
                    <a:pt x="7" y="43"/>
                    <a:pt x="7" y="43"/>
                    <a:pt x="7" y="43"/>
                  </a:cubicBezTo>
                  <a:cubicBezTo>
                    <a:pt x="6" y="44"/>
                    <a:pt x="6" y="45"/>
                    <a:pt x="7" y="45"/>
                  </a:cubicBezTo>
                  <a:cubicBezTo>
                    <a:pt x="9" y="48"/>
                    <a:pt x="9" y="48"/>
                    <a:pt x="9" y="48"/>
                  </a:cubicBezTo>
                  <a:cubicBezTo>
                    <a:pt x="10" y="48"/>
                    <a:pt x="11" y="49"/>
                    <a:pt x="12" y="48"/>
                  </a:cubicBezTo>
                  <a:cubicBezTo>
                    <a:pt x="15" y="45"/>
                    <a:pt x="15" y="45"/>
                    <a:pt x="15" y="45"/>
                  </a:cubicBezTo>
                  <a:cubicBezTo>
                    <a:pt x="17" y="44"/>
                    <a:pt x="18" y="44"/>
                    <a:pt x="19" y="45"/>
                  </a:cubicBezTo>
                  <a:cubicBezTo>
                    <a:pt x="19" y="45"/>
                    <a:pt x="19" y="45"/>
                    <a:pt x="19" y="45"/>
                  </a:cubicBezTo>
                  <a:cubicBezTo>
                    <a:pt x="19" y="45"/>
                    <a:pt x="20" y="45"/>
                    <a:pt x="21" y="45"/>
                  </a:cubicBezTo>
                  <a:cubicBezTo>
                    <a:pt x="21" y="45"/>
                    <a:pt x="21" y="46"/>
                    <a:pt x="21" y="46"/>
                  </a:cubicBezTo>
                  <a:cubicBezTo>
                    <a:pt x="22" y="46"/>
                    <a:pt x="23" y="46"/>
                    <a:pt x="23" y="48"/>
                  </a:cubicBezTo>
                  <a:cubicBezTo>
                    <a:pt x="23" y="53"/>
                    <a:pt x="23" y="53"/>
                    <a:pt x="23" y="53"/>
                  </a:cubicBezTo>
                  <a:cubicBezTo>
                    <a:pt x="24" y="54"/>
                    <a:pt x="24" y="55"/>
                    <a:pt x="25" y="55"/>
                  </a:cubicBezTo>
                  <a:cubicBezTo>
                    <a:pt x="29" y="55"/>
                    <a:pt x="29" y="55"/>
                    <a:pt x="29" y="55"/>
                  </a:cubicBezTo>
                  <a:cubicBezTo>
                    <a:pt x="30" y="55"/>
                    <a:pt x="31" y="54"/>
                    <a:pt x="31" y="53"/>
                  </a:cubicBezTo>
                  <a:cubicBezTo>
                    <a:pt x="31" y="48"/>
                    <a:pt x="31" y="48"/>
                    <a:pt x="31" y="48"/>
                  </a:cubicBezTo>
                  <a:cubicBezTo>
                    <a:pt x="31" y="46"/>
                    <a:pt x="32" y="46"/>
                    <a:pt x="33" y="46"/>
                  </a:cubicBezTo>
                  <a:cubicBezTo>
                    <a:pt x="33" y="46"/>
                    <a:pt x="33" y="45"/>
                    <a:pt x="33" y="45"/>
                  </a:cubicBezTo>
                  <a:cubicBezTo>
                    <a:pt x="34" y="45"/>
                    <a:pt x="35" y="45"/>
                    <a:pt x="35" y="45"/>
                  </a:cubicBezTo>
                  <a:cubicBezTo>
                    <a:pt x="35" y="45"/>
                    <a:pt x="35" y="45"/>
                    <a:pt x="35" y="45"/>
                  </a:cubicBezTo>
                  <a:cubicBezTo>
                    <a:pt x="36" y="44"/>
                    <a:pt x="37" y="44"/>
                    <a:pt x="39" y="45"/>
                  </a:cubicBezTo>
                  <a:cubicBezTo>
                    <a:pt x="42" y="48"/>
                    <a:pt x="42" y="48"/>
                    <a:pt x="42" y="48"/>
                  </a:cubicBezTo>
                  <a:cubicBezTo>
                    <a:pt x="43" y="49"/>
                    <a:pt x="44" y="48"/>
                    <a:pt x="45" y="48"/>
                  </a:cubicBezTo>
                  <a:cubicBezTo>
                    <a:pt x="48" y="45"/>
                    <a:pt x="48" y="45"/>
                    <a:pt x="48" y="45"/>
                  </a:cubicBezTo>
                  <a:cubicBezTo>
                    <a:pt x="48" y="45"/>
                    <a:pt x="48" y="44"/>
                    <a:pt x="48" y="43"/>
                  </a:cubicBezTo>
                  <a:cubicBezTo>
                    <a:pt x="45" y="39"/>
                    <a:pt x="45" y="39"/>
                    <a:pt x="45" y="39"/>
                  </a:cubicBezTo>
                  <a:cubicBezTo>
                    <a:pt x="43" y="38"/>
                    <a:pt x="44" y="37"/>
                    <a:pt x="44" y="36"/>
                  </a:cubicBezTo>
                  <a:cubicBezTo>
                    <a:pt x="44" y="36"/>
                    <a:pt x="44" y="36"/>
                    <a:pt x="44" y="36"/>
                  </a:cubicBezTo>
                  <a:cubicBezTo>
                    <a:pt x="44" y="35"/>
                    <a:pt x="45" y="34"/>
                    <a:pt x="45" y="34"/>
                  </a:cubicBezTo>
                  <a:cubicBezTo>
                    <a:pt x="45" y="34"/>
                    <a:pt x="45" y="34"/>
                    <a:pt x="45" y="34"/>
                  </a:cubicBezTo>
                  <a:cubicBezTo>
                    <a:pt x="45" y="33"/>
                    <a:pt x="46" y="32"/>
                    <a:pt x="48" y="32"/>
                  </a:cubicBezTo>
                  <a:cubicBezTo>
                    <a:pt x="52" y="31"/>
                    <a:pt x="52" y="31"/>
                    <a:pt x="52" y="31"/>
                  </a:cubicBezTo>
                  <a:cubicBezTo>
                    <a:pt x="53" y="31"/>
                    <a:pt x="54" y="30"/>
                    <a:pt x="54" y="30"/>
                  </a:cubicBezTo>
                  <a:cubicBezTo>
                    <a:pt x="54" y="26"/>
                    <a:pt x="54" y="26"/>
                    <a:pt x="54" y="26"/>
                  </a:cubicBezTo>
                  <a:cubicBezTo>
                    <a:pt x="54" y="25"/>
                    <a:pt x="53" y="24"/>
                    <a:pt x="52" y="24"/>
                  </a:cubicBezTo>
                  <a:close/>
                  <a:moveTo>
                    <a:pt x="27" y="37"/>
                  </a:moveTo>
                  <a:cubicBezTo>
                    <a:pt x="22" y="37"/>
                    <a:pt x="17" y="33"/>
                    <a:pt x="17" y="28"/>
                  </a:cubicBezTo>
                  <a:cubicBezTo>
                    <a:pt x="17" y="22"/>
                    <a:pt x="22" y="18"/>
                    <a:pt x="27" y="18"/>
                  </a:cubicBezTo>
                  <a:cubicBezTo>
                    <a:pt x="33" y="18"/>
                    <a:pt x="37" y="22"/>
                    <a:pt x="37" y="28"/>
                  </a:cubicBezTo>
                  <a:cubicBezTo>
                    <a:pt x="37" y="33"/>
                    <a:pt x="33" y="37"/>
                    <a:pt x="27" y="37"/>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009999"/>
                </a:solidFill>
              </a:endParaRPr>
            </a:p>
          </p:txBody>
        </p:sp>
        <p:sp>
          <p:nvSpPr>
            <p:cNvPr id="45" name="Freeform 60">
              <a:extLst>
                <a:ext uri="{FF2B5EF4-FFF2-40B4-BE49-F238E27FC236}">
                  <a16:creationId xmlns:a16="http://schemas.microsoft.com/office/drawing/2014/main" id="{9A1F5E3C-EACD-4737-9D99-C26E09B97A3F}"/>
                </a:ext>
              </a:extLst>
            </p:cNvPr>
            <p:cNvSpPr>
              <a:spLocks noEditPoints="1"/>
            </p:cNvSpPr>
            <p:nvPr/>
          </p:nvSpPr>
          <p:spPr bwMode="auto">
            <a:xfrm>
              <a:off x="5500687" y="3798888"/>
              <a:ext cx="276225" cy="276225"/>
            </a:xfrm>
            <a:custGeom>
              <a:avLst/>
              <a:gdLst>
                <a:gd name="T0" fmla="*/ 69 w 77"/>
                <a:gd name="T1" fmla="*/ 36 h 77"/>
                <a:gd name="T2" fmla="*/ 65 w 77"/>
                <a:gd name="T3" fmla="*/ 33 h 77"/>
                <a:gd name="T4" fmla="*/ 66 w 77"/>
                <a:gd name="T5" fmla="*/ 25 h 77"/>
                <a:gd name="T6" fmla="*/ 71 w 77"/>
                <a:gd name="T7" fmla="*/ 17 h 77"/>
                <a:gd name="T8" fmla="*/ 64 w 77"/>
                <a:gd name="T9" fmla="*/ 12 h 77"/>
                <a:gd name="T10" fmla="*/ 54 w 77"/>
                <a:gd name="T11" fmla="*/ 16 h 77"/>
                <a:gd name="T12" fmla="*/ 48 w 77"/>
                <a:gd name="T13" fmla="*/ 10 h 77"/>
                <a:gd name="T14" fmla="*/ 47 w 77"/>
                <a:gd name="T15" fmla="*/ 1 h 77"/>
                <a:gd name="T16" fmla="*/ 38 w 77"/>
                <a:gd name="T17" fmla="*/ 2 h 77"/>
                <a:gd name="T18" fmla="*/ 34 w 77"/>
                <a:gd name="T19" fmla="*/ 12 h 77"/>
                <a:gd name="T20" fmla="*/ 26 w 77"/>
                <a:gd name="T21" fmla="*/ 12 h 77"/>
                <a:gd name="T22" fmla="*/ 18 w 77"/>
                <a:gd name="T23" fmla="*/ 6 h 77"/>
                <a:gd name="T24" fmla="*/ 13 w 77"/>
                <a:gd name="T25" fmla="*/ 13 h 77"/>
                <a:gd name="T26" fmla="*/ 17 w 77"/>
                <a:gd name="T27" fmla="*/ 23 h 77"/>
                <a:gd name="T28" fmla="*/ 15 w 77"/>
                <a:gd name="T29" fmla="*/ 26 h 77"/>
                <a:gd name="T30" fmla="*/ 11 w 77"/>
                <a:gd name="T31" fmla="*/ 29 h 77"/>
                <a:gd name="T32" fmla="*/ 1 w 77"/>
                <a:gd name="T33" fmla="*/ 31 h 77"/>
                <a:gd name="T34" fmla="*/ 3 w 77"/>
                <a:gd name="T35" fmla="*/ 39 h 77"/>
                <a:gd name="T36" fmla="*/ 13 w 77"/>
                <a:gd name="T37" fmla="*/ 44 h 77"/>
                <a:gd name="T38" fmla="*/ 13 w 77"/>
                <a:gd name="T39" fmla="*/ 47 h 77"/>
                <a:gd name="T40" fmla="*/ 12 w 77"/>
                <a:gd name="T41" fmla="*/ 52 h 77"/>
                <a:gd name="T42" fmla="*/ 7 w 77"/>
                <a:gd name="T43" fmla="*/ 60 h 77"/>
                <a:gd name="T44" fmla="*/ 14 w 77"/>
                <a:gd name="T45" fmla="*/ 64 h 77"/>
                <a:gd name="T46" fmla="*/ 24 w 77"/>
                <a:gd name="T47" fmla="*/ 61 h 77"/>
                <a:gd name="T48" fmla="*/ 27 w 77"/>
                <a:gd name="T49" fmla="*/ 62 h 77"/>
                <a:gd name="T50" fmla="*/ 29 w 77"/>
                <a:gd name="T51" fmla="*/ 67 h 77"/>
                <a:gd name="T52" fmla="*/ 31 w 77"/>
                <a:gd name="T53" fmla="*/ 76 h 77"/>
                <a:gd name="T54" fmla="*/ 39 w 77"/>
                <a:gd name="T55" fmla="*/ 75 h 77"/>
                <a:gd name="T56" fmla="*/ 44 w 77"/>
                <a:gd name="T57" fmla="*/ 65 h 77"/>
                <a:gd name="T58" fmla="*/ 48 w 77"/>
                <a:gd name="T59" fmla="*/ 64 h 77"/>
                <a:gd name="T60" fmla="*/ 52 w 77"/>
                <a:gd name="T61" fmla="*/ 65 h 77"/>
                <a:gd name="T62" fmla="*/ 60 w 77"/>
                <a:gd name="T63" fmla="*/ 70 h 77"/>
                <a:gd name="T64" fmla="*/ 65 w 77"/>
                <a:gd name="T65" fmla="*/ 64 h 77"/>
                <a:gd name="T66" fmla="*/ 61 w 77"/>
                <a:gd name="T67" fmla="*/ 53 h 77"/>
                <a:gd name="T68" fmla="*/ 63 w 77"/>
                <a:gd name="T69" fmla="*/ 50 h 77"/>
                <a:gd name="T70" fmla="*/ 67 w 77"/>
                <a:gd name="T71" fmla="*/ 48 h 77"/>
                <a:gd name="T72" fmla="*/ 77 w 77"/>
                <a:gd name="T73" fmla="*/ 46 h 77"/>
                <a:gd name="T74" fmla="*/ 75 w 77"/>
                <a:gd name="T75" fmla="*/ 38 h 77"/>
                <a:gd name="T76" fmla="*/ 25 w 77"/>
                <a:gd name="T77" fmla="*/ 37 h 77"/>
                <a:gd name="T78" fmla="*/ 53 w 77"/>
                <a:gd name="T79" fmla="*/ 4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75" y="38"/>
                  </a:moveTo>
                  <a:cubicBezTo>
                    <a:pt x="69" y="36"/>
                    <a:pt x="69" y="36"/>
                    <a:pt x="69" y="36"/>
                  </a:cubicBezTo>
                  <a:cubicBezTo>
                    <a:pt x="66" y="36"/>
                    <a:pt x="66" y="34"/>
                    <a:pt x="65" y="33"/>
                  </a:cubicBezTo>
                  <a:cubicBezTo>
                    <a:pt x="65" y="33"/>
                    <a:pt x="65" y="33"/>
                    <a:pt x="65" y="33"/>
                  </a:cubicBezTo>
                  <a:cubicBezTo>
                    <a:pt x="65" y="32"/>
                    <a:pt x="65" y="31"/>
                    <a:pt x="64" y="30"/>
                  </a:cubicBezTo>
                  <a:cubicBezTo>
                    <a:pt x="64" y="28"/>
                    <a:pt x="64" y="27"/>
                    <a:pt x="66" y="25"/>
                  </a:cubicBezTo>
                  <a:cubicBezTo>
                    <a:pt x="71" y="20"/>
                    <a:pt x="71" y="20"/>
                    <a:pt x="71" y="20"/>
                  </a:cubicBezTo>
                  <a:cubicBezTo>
                    <a:pt x="72" y="19"/>
                    <a:pt x="72" y="18"/>
                    <a:pt x="71" y="17"/>
                  </a:cubicBezTo>
                  <a:cubicBezTo>
                    <a:pt x="68" y="13"/>
                    <a:pt x="68" y="13"/>
                    <a:pt x="68" y="13"/>
                  </a:cubicBezTo>
                  <a:cubicBezTo>
                    <a:pt x="67" y="12"/>
                    <a:pt x="66" y="12"/>
                    <a:pt x="64" y="12"/>
                  </a:cubicBezTo>
                  <a:cubicBezTo>
                    <a:pt x="59" y="16"/>
                    <a:pt x="59" y="16"/>
                    <a:pt x="59" y="16"/>
                  </a:cubicBezTo>
                  <a:cubicBezTo>
                    <a:pt x="57" y="17"/>
                    <a:pt x="55" y="17"/>
                    <a:pt x="54" y="16"/>
                  </a:cubicBezTo>
                  <a:cubicBezTo>
                    <a:pt x="53" y="15"/>
                    <a:pt x="52" y="15"/>
                    <a:pt x="50" y="14"/>
                  </a:cubicBezTo>
                  <a:cubicBezTo>
                    <a:pt x="49" y="13"/>
                    <a:pt x="48" y="12"/>
                    <a:pt x="48" y="10"/>
                  </a:cubicBezTo>
                  <a:cubicBezTo>
                    <a:pt x="49" y="3"/>
                    <a:pt x="49" y="3"/>
                    <a:pt x="49" y="3"/>
                  </a:cubicBezTo>
                  <a:cubicBezTo>
                    <a:pt x="49" y="2"/>
                    <a:pt x="48" y="1"/>
                    <a:pt x="47" y="1"/>
                  </a:cubicBezTo>
                  <a:cubicBezTo>
                    <a:pt x="41" y="0"/>
                    <a:pt x="41" y="0"/>
                    <a:pt x="41" y="0"/>
                  </a:cubicBezTo>
                  <a:cubicBezTo>
                    <a:pt x="40" y="0"/>
                    <a:pt x="39" y="1"/>
                    <a:pt x="38" y="2"/>
                  </a:cubicBezTo>
                  <a:cubicBezTo>
                    <a:pt x="37" y="9"/>
                    <a:pt x="37" y="9"/>
                    <a:pt x="37" y="9"/>
                  </a:cubicBezTo>
                  <a:cubicBezTo>
                    <a:pt x="36" y="11"/>
                    <a:pt x="35" y="12"/>
                    <a:pt x="34" y="12"/>
                  </a:cubicBezTo>
                  <a:cubicBezTo>
                    <a:pt x="33" y="12"/>
                    <a:pt x="31" y="13"/>
                    <a:pt x="30" y="13"/>
                  </a:cubicBezTo>
                  <a:cubicBezTo>
                    <a:pt x="29" y="13"/>
                    <a:pt x="27" y="13"/>
                    <a:pt x="26" y="12"/>
                  </a:cubicBezTo>
                  <a:cubicBezTo>
                    <a:pt x="21" y="7"/>
                    <a:pt x="21" y="7"/>
                    <a:pt x="21" y="7"/>
                  </a:cubicBezTo>
                  <a:cubicBezTo>
                    <a:pt x="20" y="6"/>
                    <a:pt x="18" y="6"/>
                    <a:pt x="18" y="6"/>
                  </a:cubicBezTo>
                  <a:cubicBezTo>
                    <a:pt x="13" y="10"/>
                    <a:pt x="13" y="10"/>
                    <a:pt x="13" y="10"/>
                  </a:cubicBezTo>
                  <a:cubicBezTo>
                    <a:pt x="13" y="10"/>
                    <a:pt x="12" y="12"/>
                    <a:pt x="13" y="13"/>
                  </a:cubicBezTo>
                  <a:cubicBezTo>
                    <a:pt x="16" y="19"/>
                    <a:pt x="16" y="19"/>
                    <a:pt x="16" y="19"/>
                  </a:cubicBezTo>
                  <a:cubicBezTo>
                    <a:pt x="18" y="21"/>
                    <a:pt x="17" y="22"/>
                    <a:pt x="17" y="23"/>
                  </a:cubicBezTo>
                  <a:cubicBezTo>
                    <a:pt x="17" y="23"/>
                    <a:pt x="17" y="23"/>
                    <a:pt x="17" y="24"/>
                  </a:cubicBezTo>
                  <a:cubicBezTo>
                    <a:pt x="16" y="24"/>
                    <a:pt x="15" y="25"/>
                    <a:pt x="15" y="26"/>
                  </a:cubicBezTo>
                  <a:cubicBezTo>
                    <a:pt x="15" y="26"/>
                    <a:pt x="15" y="27"/>
                    <a:pt x="15" y="27"/>
                  </a:cubicBezTo>
                  <a:cubicBezTo>
                    <a:pt x="14" y="28"/>
                    <a:pt x="13" y="29"/>
                    <a:pt x="11" y="29"/>
                  </a:cubicBezTo>
                  <a:cubicBezTo>
                    <a:pt x="4" y="29"/>
                    <a:pt x="4" y="29"/>
                    <a:pt x="4" y="29"/>
                  </a:cubicBezTo>
                  <a:cubicBezTo>
                    <a:pt x="3" y="29"/>
                    <a:pt x="1" y="30"/>
                    <a:pt x="1" y="31"/>
                  </a:cubicBezTo>
                  <a:cubicBezTo>
                    <a:pt x="1" y="36"/>
                    <a:pt x="1" y="36"/>
                    <a:pt x="1" y="36"/>
                  </a:cubicBezTo>
                  <a:cubicBezTo>
                    <a:pt x="0" y="37"/>
                    <a:pt x="1" y="38"/>
                    <a:pt x="3" y="39"/>
                  </a:cubicBezTo>
                  <a:cubicBezTo>
                    <a:pt x="9" y="40"/>
                    <a:pt x="9" y="40"/>
                    <a:pt x="9" y="40"/>
                  </a:cubicBezTo>
                  <a:cubicBezTo>
                    <a:pt x="12" y="41"/>
                    <a:pt x="12" y="42"/>
                    <a:pt x="13" y="44"/>
                  </a:cubicBezTo>
                  <a:cubicBezTo>
                    <a:pt x="13" y="44"/>
                    <a:pt x="13" y="44"/>
                    <a:pt x="13" y="44"/>
                  </a:cubicBezTo>
                  <a:cubicBezTo>
                    <a:pt x="13" y="45"/>
                    <a:pt x="13" y="46"/>
                    <a:pt x="13" y="47"/>
                  </a:cubicBezTo>
                  <a:cubicBezTo>
                    <a:pt x="13" y="47"/>
                    <a:pt x="13" y="47"/>
                    <a:pt x="13" y="47"/>
                  </a:cubicBezTo>
                  <a:cubicBezTo>
                    <a:pt x="14" y="48"/>
                    <a:pt x="14" y="50"/>
                    <a:pt x="12" y="52"/>
                  </a:cubicBezTo>
                  <a:cubicBezTo>
                    <a:pt x="7" y="56"/>
                    <a:pt x="7" y="56"/>
                    <a:pt x="7" y="56"/>
                  </a:cubicBezTo>
                  <a:cubicBezTo>
                    <a:pt x="6" y="57"/>
                    <a:pt x="6" y="59"/>
                    <a:pt x="7" y="60"/>
                  </a:cubicBezTo>
                  <a:cubicBezTo>
                    <a:pt x="10" y="64"/>
                    <a:pt x="10" y="64"/>
                    <a:pt x="10" y="64"/>
                  </a:cubicBezTo>
                  <a:cubicBezTo>
                    <a:pt x="11" y="65"/>
                    <a:pt x="12" y="65"/>
                    <a:pt x="14" y="64"/>
                  </a:cubicBezTo>
                  <a:cubicBezTo>
                    <a:pt x="19" y="61"/>
                    <a:pt x="19" y="61"/>
                    <a:pt x="19" y="61"/>
                  </a:cubicBezTo>
                  <a:cubicBezTo>
                    <a:pt x="21" y="60"/>
                    <a:pt x="23" y="60"/>
                    <a:pt x="24" y="61"/>
                  </a:cubicBezTo>
                  <a:cubicBezTo>
                    <a:pt x="24" y="61"/>
                    <a:pt x="24" y="61"/>
                    <a:pt x="24" y="61"/>
                  </a:cubicBezTo>
                  <a:cubicBezTo>
                    <a:pt x="25" y="61"/>
                    <a:pt x="26" y="62"/>
                    <a:pt x="27" y="62"/>
                  </a:cubicBezTo>
                  <a:cubicBezTo>
                    <a:pt x="27" y="62"/>
                    <a:pt x="27" y="63"/>
                    <a:pt x="27" y="63"/>
                  </a:cubicBezTo>
                  <a:cubicBezTo>
                    <a:pt x="28" y="63"/>
                    <a:pt x="29" y="64"/>
                    <a:pt x="29" y="67"/>
                  </a:cubicBezTo>
                  <a:cubicBezTo>
                    <a:pt x="29" y="73"/>
                    <a:pt x="29" y="73"/>
                    <a:pt x="29" y="73"/>
                  </a:cubicBezTo>
                  <a:cubicBezTo>
                    <a:pt x="29" y="75"/>
                    <a:pt x="30" y="76"/>
                    <a:pt x="31" y="76"/>
                  </a:cubicBezTo>
                  <a:cubicBezTo>
                    <a:pt x="37" y="77"/>
                    <a:pt x="37" y="77"/>
                    <a:pt x="37" y="77"/>
                  </a:cubicBezTo>
                  <a:cubicBezTo>
                    <a:pt x="38" y="77"/>
                    <a:pt x="39" y="76"/>
                    <a:pt x="39" y="75"/>
                  </a:cubicBezTo>
                  <a:cubicBezTo>
                    <a:pt x="41" y="68"/>
                    <a:pt x="41" y="68"/>
                    <a:pt x="41" y="68"/>
                  </a:cubicBezTo>
                  <a:cubicBezTo>
                    <a:pt x="42" y="66"/>
                    <a:pt x="43" y="65"/>
                    <a:pt x="44" y="65"/>
                  </a:cubicBezTo>
                  <a:cubicBezTo>
                    <a:pt x="44" y="65"/>
                    <a:pt x="44" y="65"/>
                    <a:pt x="44" y="65"/>
                  </a:cubicBezTo>
                  <a:cubicBezTo>
                    <a:pt x="45" y="64"/>
                    <a:pt x="47" y="64"/>
                    <a:pt x="48" y="64"/>
                  </a:cubicBezTo>
                  <a:cubicBezTo>
                    <a:pt x="48" y="64"/>
                    <a:pt x="48" y="64"/>
                    <a:pt x="48" y="64"/>
                  </a:cubicBezTo>
                  <a:cubicBezTo>
                    <a:pt x="49" y="63"/>
                    <a:pt x="50" y="63"/>
                    <a:pt x="52" y="65"/>
                  </a:cubicBezTo>
                  <a:cubicBezTo>
                    <a:pt x="57" y="70"/>
                    <a:pt x="57" y="70"/>
                    <a:pt x="57" y="70"/>
                  </a:cubicBezTo>
                  <a:cubicBezTo>
                    <a:pt x="58" y="71"/>
                    <a:pt x="59" y="71"/>
                    <a:pt x="60" y="70"/>
                  </a:cubicBezTo>
                  <a:cubicBezTo>
                    <a:pt x="65" y="67"/>
                    <a:pt x="65" y="67"/>
                    <a:pt x="65" y="67"/>
                  </a:cubicBezTo>
                  <a:cubicBezTo>
                    <a:pt x="65" y="66"/>
                    <a:pt x="66" y="65"/>
                    <a:pt x="65" y="64"/>
                  </a:cubicBezTo>
                  <a:cubicBezTo>
                    <a:pt x="61" y="58"/>
                    <a:pt x="61" y="58"/>
                    <a:pt x="61" y="58"/>
                  </a:cubicBezTo>
                  <a:cubicBezTo>
                    <a:pt x="60" y="56"/>
                    <a:pt x="61" y="54"/>
                    <a:pt x="61" y="53"/>
                  </a:cubicBezTo>
                  <a:cubicBezTo>
                    <a:pt x="61" y="53"/>
                    <a:pt x="61" y="53"/>
                    <a:pt x="61" y="53"/>
                  </a:cubicBezTo>
                  <a:cubicBezTo>
                    <a:pt x="62" y="52"/>
                    <a:pt x="63" y="51"/>
                    <a:pt x="63" y="50"/>
                  </a:cubicBezTo>
                  <a:cubicBezTo>
                    <a:pt x="63" y="50"/>
                    <a:pt x="63" y="50"/>
                    <a:pt x="63" y="50"/>
                  </a:cubicBezTo>
                  <a:cubicBezTo>
                    <a:pt x="64" y="49"/>
                    <a:pt x="65" y="48"/>
                    <a:pt x="67" y="48"/>
                  </a:cubicBezTo>
                  <a:cubicBezTo>
                    <a:pt x="74" y="48"/>
                    <a:pt x="74" y="48"/>
                    <a:pt x="74" y="48"/>
                  </a:cubicBezTo>
                  <a:cubicBezTo>
                    <a:pt x="75" y="48"/>
                    <a:pt x="77" y="47"/>
                    <a:pt x="77" y="46"/>
                  </a:cubicBezTo>
                  <a:cubicBezTo>
                    <a:pt x="77" y="40"/>
                    <a:pt x="77" y="40"/>
                    <a:pt x="77" y="40"/>
                  </a:cubicBezTo>
                  <a:cubicBezTo>
                    <a:pt x="77" y="40"/>
                    <a:pt x="77" y="38"/>
                    <a:pt x="75" y="38"/>
                  </a:cubicBezTo>
                  <a:close/>
                  <a:moveTo>
                    <a:pt x="37" y="52"/>
                  </a:moveTo>
                  <a:cubicBezTo>
                    <a:pt x="29" y="51"/>
                    <a:pt x="24" y="44"/>
                    <a:pt x="25" y="37"/>
                  </a:cubicBezTo>
                  <a:cubicBezTo>
                    <a:pt x="26" y="29"/>
                    <a:pt x="33" y="23"/>
                    <a:pt x="41" y="24"/>
                  </a:cubicBezTo>
                  <a:cubicBezTo>
                    <a:pt x="48" y="25"/>
                    <a:pt x="54" y="32"/>
                    <a:pt x="53" y="40"/>
                  </a:cubicBezTo>
                  <a:cubicBezTo>
                    <a:pt x="52" y="48"/>
                    <a:pt x="45" y="53"/>
                    <a:pt x="37" y="52"/>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009999"/>
                </a:solidFill>
              </a:endParaRPr>
            </a:p>
          </p:txBody>
        </p:sp>
      </p:grpSp>
      <p:sp>
        <p:nvSpPr>
          <p:cNvPr id="48" name="Rectangle: Rounded Corners 47">
            <a:extLst>
              <a:ext uri="{FF2B5EF4-FFF2-40B4-BE49-F238E27FC236}">
                <a16:creationId xmlns:a16="http://schemas.microsoft.com/office/drawing/2014/main" id="{29459F21-DEAE-4B69-8CB4-69D59A49E661}"/>
              </a:ext>
            </a:extLst>
          </p:cNvPr>
          <p:cNvSpPr/>
          <p:nvPr/>
        </p:nvSpPr>
        <p:spPr bwMode="auto">
          <a:xfrm>
            <a:off x="6713635" y="4537478"/>
            <a:ext cx="2006220" cy="795210"/>
          </a:xfrm>
          <a:prstGeom prst="roundRect">
            <a:avLst>
              <a:gd name="adj" fmla="val 9428"/>
            </a:avLst>
          </a:prstGeom>
          <a:solidFill>
            <a:schemeClr val="bg1">
              <a:lumMod val="9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r>
              <a:rPr lang="en-US" sz="2000">
                <a:solidFill>
                  <a:schemeClr val="tx2"/>
                </a:solidFill>
                <a:ea typeface="Segoe UI" pitchFamily="34" charset="0"/>
                <a:cs typeface="Segoe UI" pitchFamily="34" charset="0"/>
              </a:rPr>
              <a:t>        </a:t>
            </a:r>
            <a:endParaRPr lang="en-GB" sz="2000">
              <a:solidFill>
                <a:schemeClr val="tx2"/>
              </a:solidFill>
              <a:ea typeface="Segoe UI" pitchFamily="34" charset="0"/>
              <a:cs typeface="Segoe UI" pitchFamily="34" charset="0"/>
            </a:endParaRPr>
          </a:p>
        </p:txBody>
      </p:sp>
      <p:pic>
        <p:nvPicPr>
          <p:cNvPr id="50" name="Graphic 49" descr="Upstairs with solid fill">
            <a:extLst>
              <a:ext uri="{FF2B5EF4-FFF2-40B4-BE49-F238E27FC236}">
                <a16:creationId xmlns:a16="http://schemas.microsoft.com/office/drawing/2014/main" id="{5B3857BE-3113-4FD7-9C8C-91927B74F36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52746" y="4672527"/>
            <a:ext cx="525112" cy="525112"/>
          </a:xfrm>
          <a:prstGeom prst="rect">
            <a:avLst/>
          </a:prstGeom>
        </p:spPr>
      </p:pic>
      <p:sp>
        <p:nvSpPr>
          <p:cNvPr id="52" name="Rectangle: Rounded Corners 51">
            <a:extLst>
              <a:ext uri="{FF2B5EF4-FFF2-40B4-BE49-F238E27FC236}">
                <a16:creationId xmlns:a16="http://schemas.microsoft.com/office/drawing/2014/main" id="{E0F4BBB8-9C0F-47DB-BCD3-4663035FE7F5}"/>
              </a:ext>
            </a:extLst>
          </p:cNvPr>
          <p:cNvSpPr/>
          <p:nvPr/>
        </p:nvSpPr>
        <p:spPr bwMode="auto">
          <a:xfrm>
            <a:off x="3500545" y="4537478"/>
            <a:ext cx="2006220" cy="795210"/>
          </a:xfrm>
          <a:prstGeom prst="roundRect">
            <a:avLst>
              <a:gd name="adj" fmla="val 9428"/>
            </a:avLst>
          </a:prstGeom>
          <a:solidFill>
            <a:schemeClr val="bg1">
              <a:lumMod val="9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r>
              <a:rPr lang="en-US" sz="2000">
                <a:solidFill>
                  <a:schemeClr val="tx2"/>
                </a:solidFill>
                <a:ea typeface="Segoe UI" pitchFamily="34" charset="0"/>
                <a:cs typeface="Segoe UI" pitchFamily="34" charset="0"/>
              </a:rPr>
              <a:t>        </a:t>
            </a:r>
            <a:endParaRPr lang="en-GB" sz="2000">
              <a:solidFill>
                <a:schemeClr val="tx2"/>
              </a:solidFill>
              <a:ea typeface="Segoe UI" pitchFamily="34" charset="0"/>
              <a:cs typeface="Segoe UI" pitchFamily="34" charset="0"/>
            </a:endParaRPr>
          </a:p>
        </p:txBody>
      </p:sp>
      <p:pic>
        <p:nvPicPr>
          <p:cNvPr id="54" name="Graphic 53" descr="Rocket with solid fill">
            <a:extLst>
              <a:ext uri="{FF2B5EF4-FFF2-40B4-BE49-F238E27FC236}">
                <a16:creationId xmlns:a16="http://schemas.microsoft.com/office/drawing/2014/main" id="{ED34D472-1FAD-4C3E-9D56-46233BFB181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9019124">
            <a:off x="3690046" y="4743928"/>
            <a:ext cx="475135" cy="475135"/>
          </a:xfrm>
          <a:prstGeom prst="rect">
            <a:avLst/>
          </a:prstGeom>
        </p:spPr>
      </p:pic>
      <p:grpSp>
        <p:nvGrpSpPr>
          <p:cNvPr id="62" name="Group 61">
            <a:extLst>
              <a:ext uri="{FF2B5EF4-FFF2-40B4-BE49-F238E27FC236}">
                <a16:creationId xmlns:a16="http://schemas.microsoft.com/office/drawing/2014/main" id="{26127623-36A1-4C3E-8B57-0EE07FD35D15}"/>
              </a:ext>
            </a:extLst>
          </p:cNvPr>
          <p:cNvGrpSpPr/>
          <p:nvPr/>
        </p:nvGrpSpPr>
        <p:grpSpPr>
          <a:xfrm>
            <a:off x="5501215" y="1859870"/>
            <a:ext cx="439316" cy="439316"/>
            <a:chOff x="9451976" y="1770063"/>
            <a:chExt cx="585788" cy="585788"/>
          </a:xfrm>
        </p:grpSpPr>
        <p:sp>
          <p:nvSpPr>
            <p:cNvPr id="56" name="Freeform 484">
              <a:extLst>
                <a:ext uri="{FF2B5EF4-FFF2-40B4-BE49-F238E27FC236}">
                  <a16:creationId xmlns:a16="http://schemas.microsoft.com/office/drawing/2014/main" id="{CAA5AD8B-01E0-4A39-A202-F567F7D8D85D}"/>
                </a:ext>
              </a:extLst>
            </p:cNvPr>
            <p:cNvSpPr>
              <a:spLocks/>
            </p:cNvSpPr>
            <p:nvPr/>
          </p:nvSpPr>
          <p:spPr bwMode="auto">
            <a:xfrm>
              <a:off x="9451976" y="1951038"/>
              <a:ext cx="415925" cy="404813"/>
            </a:xfrm>
            <a:custGeom>
              <a:avLst/>
              <a:gdLst>
                <a:gd name="T0" fmla="*/ 105 w 111"/>
                <a:gd name="T1" fmla="*/ 3 h 108"/>
                <a:gd name="T2" fmla="*/ 105 w 111"/>
                <a:gd name="T3" fmla="*/ 0 h 108"/>
                <a:gd name="T4" fmla="*/ 6 w 111"/>
                <a:gd name="T5" fmla="*/ 0 h 108"/>
                <a:gd name="T6" fmla="*/ 0 w 111"/>
                <a:gd name="T7" fmla="*/ 0 h 108"/>
                <a:gd name="T8" fmla="*/ 0 w 111"/>
                <a:gd name="T9" fmla="*/ 3 h 108"/>
                <a:gd name="T10" fmla="*/ 0 w 111"/>
                <a:gd name="T11" fmla="*/ 105 h 108"/>
                <a:gd name="T12" fmla="*/ 0 w 111"/>
                <a:gd name="T13" fmla="*/ 108 h 108"/>
                <a:gd name="T14" fmla="*/ 6 w 111"/>
                <a:gd name="T15" fmla="*/ 108 h 108"/>
                <a:gd name="T16" fmla="*/ 105 w 111"/>
                <a:gd name="T17" fmla="*/ 108 h 108"/>
                <a:gd name="T18" fmla="*/ 108 w 111"/>
                <a:gd name="T19" fmla="*/ 108 h 108"/>
                <a:gd name="T20" fmla="*/ 111 w 111"/>
                <a:gd name="T21" fmla="*/ 105 h 108"/>
                <a:gd name="T22" fmla="*/ 111 w 111"/>
                <a:gd name="T23" fmla="*/ 3 h 108"/>
                <a:gd name="T24" fmla="*/ 108 w 111"/>
                <a:gd name="T25" fmla="*/ 0 h 108"/>
                <a:gd name="T26" fmla="*/ 105 w 111"/>
                <a:gd name="T27" fmla="*/ 0 h 108"/>
                <a:gd name="T28" fmla="*/ 105 w 111"/>
                <a:gd name="T29" fmla="*/ 3 h 108"/>
                <a:gd name="T30" fmla="*/ 102 w 111"/>
                <a:gd name="T31" fmla="*/ 3 h 108"/>
                <a:gd name="T32" fmla="*/ 102 w 111"/>
                <a:gd name="T33" fmla="*/ 99 h 108"/>
                <a:gd name="T34" fmla="*/ 9 w 111"/>
                <a:gd name="T35" fmla="*/ 99 h 108"/>
                <a:gd name="T36" fmla="*/ 9 w 111"/>
                <a:gd name="T37" fmla="*/ 9 h 108"/>
                <a:gd name="T38" fmla="*/ 105 w 111"/>
                <a:gd name="T39" fmla="*/ 9 h 108"/>
                <a:gd name="T40" fmla="*/ 105 w 111"/>
                <a:gd name="T41" fmla="*/ 3 h 108"/>
                <a:gd name="T42" fmla="*/ 102 w 111"/>
                <a:gd name="T43" fmla="*/ 3 h 108"/>
                <a:gd name="T44" fmla="*/ 105 w 111"/>
                <a:gd name="T45"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108">
                  <a:moveTo>
                    <a:pt x="105" y="3"/>
                  </a:moveTo>
                  <a:cubicBezTo>
                    <a:pt x="105" y="0"/>
                    <a:pt x="105" y="0"/>
                    <a:pt x="105" y="0"/>
                  </a:cubicBezTo>
                  <a:cubicBezTo>
                    <a:pt x="6" y="0"/>
                    <a:pt x="6" y="0"/>
                    <a:pt x="6" y="0"/>
                  </a:cubicBezTo>
                  <a:cubicBezTo>
                    <a:pt x="3" y="0"/>
                    <a:pt x="3" y="0"/>
                    <a:pt x="0" y="0"/>
                  </a:cubicBezTo>
                  <a:cubicBezTo>
                    <a:pt x="0" y="3"/>
                    <a:pt x="0" y="3"/>
                    <a:pt x="0" y="3"/>
                  </a:cubicBezTo>
                  <a:cubicBezTo>
                    <a:pt x="0" y="105"/>
                    <a:pt x="0" y="105"/>
                    <a:pt x="0" y="105"/>
                  </a:cubicBezTo>
                  <a:cubicBezTo>
                    <a:pt x="0" y="105"/>
                    <a:pt x="0" y="105"/>
                    <a:pt x="0" y="108"/>
                  </a:cubicBezTo>
                  <a:cubicBezTo>
                    <a:pt x="3" y="108"/>
                    <a:pt x="3" y="108"/>
                    <a:pt x="6" y="108"/>
                  </a:cubicBezTo>
                  <a:cubicBezTo>
                    <a:pt x="105" y="108"/>
                    <a:pt x="105" y="108"/>
                    <a:pt x="105" y="108"/>
                  </a:cubicBezTo>
                  <a:cubicBezTo>
                    <a:pt x="108" y="108"/>
                    <a:pt x="108" y="108"/>
                    <a:pt x="108" y="108"/>
                  </a:cubicBezTo>
                  <a:cubicBezTo>
                    <a:pt x="108" y="105"/>
                    <a:pt x="111" y="105"/>
                    <a:pt x="111" y="105"/>
                  </a:cubicBezTo>
                  <a:cubicBezTo>
                    <a:pt x="111" y="3"/>
                    <a:pt x="111" y="3"/>
                    <a:pt x="111" y="3"/>
                  </a:cubicBezTo>
                  <a:cubicBezTo>
                    <a:pt x="108" y="0"/>
                    <a:pt x="108" y="0"/>
                    <a:pt x="108" y="0"/>
                  </a:cubicBezTo>
                  <a:cubicBezTo>
                    <a:pt x="105" y="0"/>
                    <a:pt x="105" y="0"/>
                    <a:pt x="105" y="0"/>
                  </a:cubicBezTo>
                  <a:cubicBezTo>
                    <a:pt x="105" y="3"/>
                    <a:pt x="105" y="3"/>
                    <a:pt x="105" y="3"/>
                  </a:cubicBezTo>
                  <a:cubicBezTo>
                    <a:pt x="102" y="3"/>
                    <a:pt x="102" y="3"/>
                    <a:pt x="102" y="3"/>
                  </a:cubicBezTo>
                  <a:cubicBezTo>
                    <a:pt x="102" y="99"/>
                    <a:pt x="102" y="99"/>
                    <a:pt x="102" y="99"/>
                  </a:cubicBezTo>
                  <a:cubicBezTo>
                    <a:pt x="9" y="99"/>
                    <a:pt x="9" y="99"/>
                    <a:pt x="9" y="99"/>
                  </a:cubicBezTo>
                  <a:cubicBezTo>
                    <a:pt x="9" y="9"/>
                    <a:pt x="9" y="9"/>
                    <a:pt x="9" y="9"/>
                  </a:cubicBezTo>
                  <a:cubicBezTo>
                    <a:pt x="105" y="9"/>
                    <a:pt x="105" y="9"/>
                    <a:pt x="105" y="9"/>
                  </a:cubicBezTo>
                  <a:cubicBezTo>
                    <a:pt x="105" y="3"/>
                    <a:pt x="105" y="3"/>
                    <a:pt x="105" y="3"/>
                  </a:cubicBezTo>
                  <a:cubicBezTo>
                    <a:pt x="102" y="3"/>
                    <a:pt x="102" y="3"/>
                    <a:pt x="102" y="3"/>
                  </a:cubicBezTo>
                  <a:lnTo>
                    <a:pt x="105" y="3"/>
                  </a:lnTo>
                  <a:close/>
                </a:path>
              </a:pathLst>
            </a:custGeom>
            <a:solidFill>
              <a:srgbClr val="009999"/>
            </a:solidFill>
            <a:ln w="5258" cap="flat">
              <a:noFill/>
              <a:prstDash val="solid"/>
              <a:miter/>
            </a:ln>
          </p:spPr>
          <p:txBody>
            <a:bodyPr vert="horz" wrap="square" lIns="68577" tIns="34288" rIns="68577" bIns="34288" numCol="1" anchor="t" anchorCtr="0" compatLnSpc="1">
              <a:prstTxWarp prst="textNoShape">
                <a:avLst/>
              </a:prstTxWarp>
            </a:bodyPr>
            <a:lstStyle/>
            <a:p>
              <a:pPr defTabSz="685738"/>
              <a:endParaRPr lang="en-US" sz="1400" kern="0">
                <a:solidFill>
                  <a:sysClr val="windowText" lastClr="000000"/>
                </a:solidFill>
              </a:endParaRPr>
            </a:p>
          </p:txBody>
        </p:sp>
        <p:sp>
          <p:nvSpPr>
            <p:cNvPr id="57" name="Freeform 485">
              <a:extLst>
                <a:ext uri="{FF2B5EF4-FFF2-40B4-BE49-F238E27FC236}">
                  <a16:creationId xmlns:a16="http://schemas.microsoft.com/office/drawing/2014/main" id="{CA7BBF04-A052-47A8-A666-DE7D1FAE1408}"/>
                </a:ext>
              </a:extLst>
            </p:cNvPr>
            <p:cNvSpPr>
              <a:spLocks/>
            </p:cNvSpPr>
            <p:nvPr/>
          </p:nvSpPr>
          <p:spPr bwMode="auto">
            <a:xfrm>
              <a:off x="9620251" y="1781175"/>
              <a:ext cx="417513" cy="406400"/>
            </a:xfrm>
            <a:custGeom>
              <a:avLst/>
              <a:gdLst>
                <a:gd name="T0" fmla="*/ 105 w 111"/>
                <a:gd name="T1" fmla="*/ 3 h 108"/>
                <a:gd name="T2" fmla="*/ 105 w 111"/>
                <a:gd name="T3" fmla="*/ 0 h 108"/>
                <a:gd name="T4" fmla="*/ 6 w 111"/>
                <a:gd name="T5" fmla="*/ 0 h 108"/>
                <a:gd name="T6" fmla="*/ 0 w 111"/>
                <a:gd name="T7" fmla="*/ 0 h 108"/>
                <a:gd name="T8" fmla="*/ 0 w 111"/>
                <a:gd name="T9" fmla="*/ 3 h 108"/>
                <a:gd name="T10" fmla="*/ 0 w 111"/>
                <a:gd name="T11" fmla="*/ 105 h 108"/>
                <a:gd name="T12" fmla="*/ 0 w 111"/>
                <a:gd name="T13" fmla="*/ 108 h 108"/>
                <a:gd name="T14" fmla="*/ 6 w 111"/>
                <a:gd name="T15" fmla="*/ 108 h 108"/>
                <a:gd name="T16" fmla="*/ 105 w 111"/>
                <a:gd name="T17" fmla="*/ 108 h 108"/>
                <a:gd name="T18" fmla="*/ 108 w 111"/>
                <a:gd name="T19" fmla="*/ 108 h 108"/>
                <a:gd name="T20" fmla="*/ 111 w 111"/>
                <a:gd name="T21" fmla="*/ 105 h 108"/>
                <a:gd name="T22" fmla="*/ 111 w 111"/>
                <a:gd name="T23" fmla="*/ 3 h 108"/>
                <a:gd name="T24" fmla="*/ 108 w 111"/>
                <a:gd name="T25" fmla="*/ 0 h 108"/>
                <a:gd name="T26" fmla="*/ 105 w 111"/>
                <a:gd name="T27" fmla="*/ 0 h 108"/>
                <a:gd name="T28" fmla="*/ 105 w 111"/>
                <a:gd name="T29" fmla="*/ 3 h 108"/>
                <a:gd name="T30" fmla="*/ 102 w 111"/>
                <a:gd name="T31" fmla="*/ 3 h 108"/>
                <a:gd name="T32" fmla="*/ 102 w 111"/>
                <a:gd name="T33" fmla="*/ 99 h 108"/>
                <a:gd name="T34" fmla="*/ 9 w 111"/>
                <a:gd name="T35" fmla="*/ 99 h 108"/>
                <a:gd name="T36" fmla="*/ 9 w 111"/>
                <a:gd name="T37" fmla="*/ 9 h 108"/>
                <a:gd name="T38" fmla="*/ 105 w 111"/>
                <a:gd name="T39" fmla="*/ 9 h 108"/>
                <a:gd name="T40" fmla="*/ 105 w 111"/>
                <a:gd name="T41" fmla="*/ 3 h 108"/>
                <a:gd name="T42" fmla="*/ 102 w 111"/>
                <a:gd name="T43" fmla="*/ 3 h 108"/>
                <a:gd name="T44" fmla="*/ 105 w 111"/>
                <a:gd name="T45"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108">
                  <a:moveTo>
                    <a:pt x="105" y="3"/>
                  </a:moveTo>
                  <a:cubicBezTo>
                    <a:pt x="105" y="0"/>
                    <a:pt x="105" y="0"/>
                    <a:pt x="105" y="0"/>
                  </a:cubicBezTo>
                  <a:cubicBezTo>
                    <a:pt x="6" y="0"/>
                    <a:pt x="6" y="0"/>
                    <a:pt x="6" y="0"/>
                  </a:cubicBezTo>
                  <a:cubicBezTo>
                    <a:pt x="3" y="0"/>
                    <a:pt x="3" y="0"/>
                    <a:pt x="0" y="0"/>
                  </a:cubicBezTo>
                  <a:cubicBezTo>
                    <a:pt x="0" y="3"/>
                    <a:pt x="0" y="3"/>
                    <a:pt x="0" y="3"/>
                  </a:cubicBezTo>
                  <a:cubicBezTo>
                    <a:pt x="0" y="105"/>
                    <a:pt x="0" y="105"/>
                    <a:pt x="0" y="105"/>
                  </a:cubicBezTo>
                  <a:cubicBezTo>
                    <a:pt x="0" y="105"/>
                    <a:pt x="0" y="105"/>
                    <a:pt x="0" y="108"/>
                  </a:cubicBezTo>
                  <a:cubicBezTo>
                    <a:pt x="3" y="108"/>
                    <a:pt x="3" y="108"/>
                    <a:pt x="6" y="108"/>
                  </a:cubicBezTo>
                  <a:cubicBezTo>
                    <a:pt x="105" y="108"/>
                    <a:pt x="105" y="108"/>
                    <a:pt x="105" y="108"/>
                  </a:cubicBezTo>
                  <a:cubicBezTo>
                    <a:pt x="108" y="108"/>
                    <a:pt x="108" y="108"/>
                    <a:pt x="108" y="108"/>
                  </a:cubicBezTo>
                  <a:cubicBezTo>
                    <a:pt x="108" y="105"/>
                    <a:pt x="111" y="105"/>
                    <a:pt x="111" y="105"/>
                  </a:cubicBezTo>
                  <a:cubicBezTo>
                    <a:pt x="111" y="3"/>
                    <a:pt x="111" y="3"/>
                    <a:pt x="111" y="3"/>
                  </a:cubicBezTo>
                  <a:cubicBezTo>
                    <a:pt x="108" y="0"/>
                    <a:pt x="108" y="0"/>
                    <a:pt x="108" y="0"/>
                  </a:cubicBezTo>
                  <a:cubicBezTo>
                    <a:pt x="105" y="0"/>
                    <a:pt x="105" y="0"/>
                    <a:pt x="105" y="0"/>
                  </a:cubicBezTo>
                  <a:cubicBezTo>
                    <a:pt x="105" y="3"/>
                    <a:pt x="105" y="3"/>
                    <a:pt x="105" y="3"/>
                  </a:cubicBezTo>
                  <a:cubicBezTo>
                    <a:pt x="102" y="3"/>
                    <a:pt x="102" y="3"/>
                    <a:pt x="102" y="3"/>
                  </a:cubicBezTo>
                  <a:cubicBezTo>
                    <a:pt x="102" y="99"/>
                    <a:pt x="102" y="99"/>
                    <a:pt x="102" y="99"/>
                  </a:cubicBezTo>
                  <a:cubicBezTo>
                    <a:pt x="9" y="99"/>
                    <a:pt x="9" y="99"/>
                    <a:pt x="9" y="99"/>
                  </a:cubicBezTo>
                  <a:cubicBezTo>
                    <a:pt x="9" y="9"/>
                    <a:pt x="9" y="9"/>
                    <a:pt x="9" y="9"/>
                  </a:cubicBezTo>
                  <a:cubicBezTo>
                    <a:pt x="105" y="9"/>
                    <a:pt x="105" y="9"/>
                    <a:pt x="105" y="9"/>
                  </a:cubicBezTo>
                  <a:cubicBezTo>
                    <a:pt x="105" y="3"/>
                    <a:pt x="105" y="3"/>
                    <a:pt x="105" y="3"/>
                  </a:cubicBezTo>
                  <a:cubicBezTo>
                    <a:pt x="102" y="3"/>
                    <a:pt x="102" y="3"/>
                    <a:pt x="102" y="3"/>
                  </a:cubicBezTo>
                  <a:lnTo>
                    <a:pt x="105" y="3"/>
                  </a:lnTo>
                  <a:close/>
                </a:path>
              </a:pathLst>
            </a:custGeom>
            <a:solidFill>
              <a:srgbClr val="009999"/>
            </a:solidFill>
            <a:ln w="5258" cap="flat">
              <a:noFill/>
              <a:prstDash val="solid"/>
              <a:miter/>
            </a:ln>
          </p:spPr>
          <p:txBody>
            <a:bodyPr vert="horz" wrap="square" lIns="68577" tIns="34288" rIns="68577" bIns="34288" numCol="1" anchor="t" anchorCtr="0" compatLnSpc="1">
              <a:prstTxWarp prst="textNoShape">
                <a:avLst/>
              </a:prstTxWarp>
            </a:bodyPr>
            <a:lstStyle/>
            <a:p>
              <a:pPr defTabSz="685738"/>
              <a:endParaRPr lang="en-US" sz="1400" kern="0">
                <a:solidFill>
                  <a:sysClr val="windowText" lastClr="000000"/>
                </a:solidFill>
              </a:endParaRPr>
            </a:p>
          </p:txBody>
        </p:sp>
        <p:sp>
          <p:nvSpPr>
            <p:cNvPr id="58" name="Freeform 486">
              <a:extLst>
                <a:ext uri="{FF2B5EF4-FFF2-40B4-BE49-F238E27FC236}">
                  <a16:creationId xmlns:a16="http://schemas.microsoft.com/office/drawing/2014/main" id="{FFDB4DC8-CCB8-4917-93DA-8D9F2CCFD89C}"/>
                </a:ext>
              </a:extLst>
            </p:cNvPr>
            <p:cNvSpPr>
              <a:spLocks/>
            </p:cNvSpPr>
            <p:nvPr/>
          </p:nvSpPr>
          <p:spPr bwMode="auto">
            <a:xfrm>
              <a:off x="9823451" y="2154238"/>
              <a:ext cx="214313" cy="201613"/>
            </a:xfrm>
            <a:custGeom>
              <a:avLst/>
              <a:gdLst>
                <a:gd name="T0" fmla="*/ 9 w 57"/>
                <a:gd name="T1" fmla="*/ 54 h 54"/>
                <a:gd name="T2" fmla="*/ 54 w 57"/>
                <a:gd name="T3" fmla="*/ 9 h 54"/>
                <a:gd name="T4" fmla="*/ 54 w 57"/>
                <a:gd name="T5" fmla="*/ 3 h 54"/>
                <a:gd name="T6" fmla="*/ 48 w 57"/>
                <a:gd name="T7" fmla="*/ 3 h 54"/>
                <a:gd name="T8" fmla="*/ 3 w 57"/>
                <a:gd name="T9" fmla="*/ 45 h 54"/>
                <a:gd name="T10" fmla="*/ 3 w 57"/>
                <a:gd name="T11" fmla="*/ 54 h 54"/>
                <a:gd name="T12" fmla="*/ 9 w 57"/>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7" h="54">
                  <a:moveTo>
                    <a:pt x="9" y="54"/>
                  </a:moveTo>
                  <a:cubicBezTo>
                    <a:pt x="54" y="9"/>
                    <a:pt x="54" y="9"/>
                    <a:pt x="54" y="9"/>
                  </a:cubicBezTo>
                  <a:cubicBezTo>
                    <a:pt x="57" y="6"/>
                    <a:pt x="57" y="3"/>
                    <a:pt x="54" y="3"/>
                  </a:cubicBezTo>
                  <a:cubicBezTo>
                    <a:pt x="54" y="0"/>
                    <a:pt x="51" y="0"/>
                    <a:pt x="48" y="3"/>
                  </a:cubicBezTo>
                  <a:cubicBezTo>
                    <a:pt x="3" y="45"/>
                    <a:pt x="3" y="45"/>
                    <a:pt x="3" y="45"/>
                  </a:cubicBezTo>
                  <a:cubicBezTo>
                    <a:pt x="0" y="48"/>
                    <a:pt x="0" y="51"/>
                    <a:pt x="3" y="54"/>
                  </a:cubicBezTo>
                  <a:cubicBezTo>
                    <a:pt x="6" y="54"/>
                    <a:pt x="9" y="54"/>
                    <a:pt x="9" y="54"/>
                  </a:cubicBezTo>
                </a:path>
              </a:pathLst>
            </a:custGeom>
            <a:solidFill>
              <a:srgbClr val="009999"/>
            </a:solidFill>
            <a:ln w="5258" cap="flat">
              <a:noFill/>
              <a:prstDash val="solid"/>
              <a:miter/>
            </a:ln>
          </p:spPr>
          <p:txBody>
            <a:bodyPr vert="horz" wrap="square" lIns="68577" tIns="34288" rIns="68577" bIns="34288" numCol="1" anchor="t" anchorCtr="0" compatLnSpc="1">
              <a:prstTxWarp prst="textNoShape">
                <a:avLst/>
              </a:prstTxWarp>
            </a:bodyPr>
            <a:lstStyle/>
            <a:p>
              <a:pPr defTabSz="685738"/>
              <a:endParaRPr lang="en-US" sz="1400" kern="0">
                <a:solidFill>
                  <a:sysClr val="windowText" lastClr="000000"/>
                </a:solidFill>
              </a:endParaRPr>
            </a:p>
          </p:txBody>
        </p:sp>
        <p:sp>
          <p:nvSpPr>
            <p:cNvPr id="59" name="Freeform 487">
              <a:extLst>
                <a:ext uri="{FF2B5EF4-FFF2-40B4-BE49-F238E27FC236}">
                  <a16:creationId xmlns:a16="http://schemas.microsoft.com/office/drawing/2014/main" id="{622527E5-B9CA-4216-ABA9-4EADC98E802E}"/>
                </a:ext>
              </a:extLst>
            </p:cNvPr>
            <p:cNvSpPr>
              <a:spLocks/>
            </p:cNvSpPr>
            <p:nvPr/>
          </p:nvSpPr>
          <p:spPr bwMode="auto">
            <a:xfrm>
              <a:off x="9451976" y="1770063"/>
              <a:ext cx="201613" cy="214313"/>
            </a:xfrm>
            <a:custGeom>
              <a:avLst/>
              <a:gdLst>
                <a:gd name="T0" fmla="*/ 9 w 54"/>
                <a:gd name="T1" fmla="*/ 54 h 57"/>
                <a:gd name="T2" fmla="*/ 54 w 54"/>
                <a:gd name="T3" fmla="*/ 9 h 57"/>
                <a:gd name="T4" fmla="*/ 54 w 54"/>
                <a:gd name="T5" fmla="*/ 3 h 57"/>
                <a:gd name="T6" fmla="*/ 45 w 54"/>
                <a:gd name="T7" fmla="*/ 3 h 57"/>
                <a:gd name="T8" fmla="*/ 0 w 54"/>
                <a:gd name="T9" fmla="*/ 48 h 57"/>
                <a:gd name="T10" fmla="*/ 0 w 54"/>
                <a:gd name="T11" fmla="*/ 54 h 57"/>
                <a:gd name="T12" fmla="*/ 9 w 54"/>
                <a:gd name="T13" fmla="*/ 54 h 57"/>
              </a:gdLst>
              <a:ahLst/>
              <a:cxnLst>
                <a:cxn ang="0">
                  <a:pos x="T0" y="T1"/>
                </a:cxn>
                <a:cxn ang="0">
                  <a:pos x="T2" y="T3"/>
                </a:cxn>
                <a:cxn ang="0">
                  <a:pos x="T4" y="T5"/>
                </a:cxn>
                <a:cxn ang="0">
                  <a:pos x="T6" y="T7"/>
                </a:cxn>
                <a:cxn ang="0">
                  <a:pos x="T8" y="T9"/>
                </a:cxn>
                <a:cxn ang="0">
                  <a:pos x="T10" y="T11"/>
                </a:cxn>
                <a:cxn ang="0">
                  <a:pos x="T12" y="T13"/>
                </a:cxn>
              </a:cxnLst>
              <a:rect l="0" t="0" r="r" b="b"/>
              <a:pathLst>
                <a:path w="54" h="57">
                  <a:moveTo>
                    <a:pt x="9" y="54"/>
                  </a:moveTo>
                  <a:cubicBezTo>
                    <a:pt x="54" y="9"/>
                    <a:pt x="54" y="9"/>
                    <a:pt x="54" y="9"/>
                  </a:cubicBezTo>
                  <a:cubicBezTo>
                    <a:pt x="54" y="9"/>
                    <a:pt x="54" y="6"/>
                    <a:pt x="54" y="3"/>
                  </a:cubicBezTo>
                  <a:cubicBezTo>
                    <a:pt x="51" y="0"/>
                    <a:pt x="48" y="0"/>
                    <a:pt x="45" y="3"/>
                  </a:cubicBezTo>
                  <a:cubicBezTo>
                    <a:pt x="0" y="48"/>
                    <a:pt x="0" y="48"/>
                    <a:pt x="0" y="48"/>
                  </a:cubicBezTo>
                  <a:cubicBezTo>
                    <a:pt x="0" y="51"/>
                    <a:pt x="0" y="54"/>
                    <a:pt x="0" y="54"/>
                  </a:cubicBezTo>
                  <a:cubicBezTo>
                    <a:pt x="3" y="57"/>
                    <a:pt x="6" y="57"/>
                    <a:pt x="9" y="54"/>
                  </a:cubicBezTo>
                </a:path>
              </a:pathLst>
            </a:custGeom>
            <a:solidFill>
              <a:srgbClr val="009999"/>
            </a:solidFill>
            <a:ln w="5258" cap="flat">
              <a:noFill/>
              <a:prstDash val="solid"/>
              <a:miter/>
            </a:ln>
          </p:spPr>
          <p:txBody>
            <a:bodyPr vert="horz" wrap="square" lIns="68577" tIns="34288" rIns="68577" bIns="34288" numCol="1" anchor="t" anchorCtr="0" compatLnSpc="1">
              <a:prstTxWarp prst="textNoShape">
                <a:avLst/>
              </a:prstTxWarp>
            </a:bodyPr>
            <a:lstStyle/>
            <a:p>
              <a:pPr defTabSz="685738"/>
              <a:endParaRPr lang="en-US" sz="1400" kern="0">
                <a:solidFill>
                  <a:sysClr val="windowText" lastClr="000000"/>
                </a:solidFill>
              </a:endParaRPr>
            </a:p>
          </p:txBody>
        </p:sp>
        <p:sp>
          <p:nvSpPr>
            <p:cNvPr id="60" name="Freeform 488">
              <a:extLst>
                <a:ext uri="{FF2B5EF4-FFF2-40B4-BE49-F238E27FC236}">
                  <a16:creationId xmlns:a16="http://schemas.microsoft.com/office/drawing/2014/main" id="{B9461E98-500C-4ECA-98DC-F565E66C60DA}"/>
                </a:ext>
              </a:extLst>
            </p:cNvPr>
            <p:cNvSpPr>
              <a:spLocks/>
            </p:cNvSpPr>
            <p:nvPr/>
          </p:nvSpPr>
          <p:spPr bwMode="auto">
            <a:xfrm>
              <a:off x="9823451" y="1770063"/>
              <a:ext cx="214313" cy="214313"/>
            </a:xfrm>
            <a:custGeom>
              <a:avLst/>
              <a:gdLst>
                <a:gd name="T0" fmla="*/ 9 w 57"/>
                <a:gd name="T1" fmla="*/ 54 h 57"/>
                <a:gd name="T2" fmla="*/ 54 w 57"/>
                <a:gd name="T3" fmla="*/ 9 h 57"/>
                <a:gd name="T4" fmla="*/ 54 w 57"/>
                <a:gd name="T5" fmla="*/ 3 h 57"/>
                <a:gd name="T6" fmla="*/ 48 w 57"/>
                <a:gd name="T7" fmla="*/ 3 h 57"/>
                <a:gd name="T8" fmla="*/ 3 w 57"/>
                <a:gd name="T9" fmla="*/ 48 h 57"/>
                <a:gd name="T10" fmla="*/ 3 w 57"/>
                <a:gd name="T11" fmla="*/ 54 h 57"/>
                <a:gd name="T12" fmla="*/ 9 w 57"/>
                <a:gd name="T13" fmla="*/ 54 h 57"/>
              </a:gdLst>
              <a:ahLst/>
              <a:cxnLst>
                <a:cxn ang="0">
                  <a:pos x="T0" y="T1"/>
                </a:cxn>
                <a:cxn ang="0">
                  <a:pos x="T2" y="T3"/>
                </a:cxn>
                <a:cxn ang="0">
                  <a:pos x="T4" y="T5"/>
                </a:cxn>
                <a:cxn ang="0">
                  <a:pos x="T6" y="T7"/>
                </a:cxn>
                <a:cxn ang="0">
                  <a:pos x="T8" y="T9"/>
                </a:cxn>
                <a:cxn ang="0">
                  <a:pos x="T10" y="T11"/>
                </a:cxn>
                <a:cxn ang="0">
                  <a:pos x="T12" y="T13"/>
                </a:cxn>
              </a:cxnLst>
              <a:rect l="0" t="0" r="r" b="b"/>
              <a:pathLst>
                <a:path w="57" h="57">
                  <a:moveTo>
                    <a:pt x="9" y="54"/>
                  </a:moveTo>
                  <a:cubicBezTo>
                    <a:pt x="54" y="9"/>
                    <a:pt x="54" y="9"/>
                    <a:pt x="54" y="9"/>
                  </a:cubicBezTo>
                  <a:cubicBezTo>
                    <a:pt x="57" y="9"/>
                    <a:pt x="57" y="6"/>
                    <a:pt x="54" y="3"/>
                  </a:cubicBezTo>
                  <a:cubicBezTo>
                    <a:pt x="54" y="0"/>
                    <a:pt x="51" y="0"/>
                    <a:pt x="48" y="3"/>
                  </a:cubicBezTo>
                  <a:cubicBezTo>
                    <a:pt x="3" y="48"/>
                    <a:pt x="3" y="48"/>
                    <a:pt x="3" y="48"/>
                  </a:cubicBezTo>
                  <a:cubicBezTo>
                    <a:pt x="0" y="51"/>
                    <a:pt x="0" y="54"/>
                    <a:pt x="3" y="54"/>
                  </a:cubicBezTo>
                  <a:cubicBezTo>
                    <a:pt x="6" y="57"/>
                    <a:pt x="9" y="57"/>
                    <a:pt x="9" y="54"/>
                  </a:cubicBezTo>
                </a:path>
              </a:pathLst>
            </a:custGeom>
            <a:solidFill>
              <a:srgbClr val="009999"/>
            </a:solidFill>
            <a:ln w="5258" cap="flat">
              <a:noFill/>
              <a:prstDash val="solid"/>
              <a:miter/>
            </a:ln>
          </p:spPr>
          <p:txBody>
            <a:bodyPr vert="horz" wrap="square" lIns="68577" tIns="34288" rIns="68577" bIns="34288" numCol="1" anchor="t" anchorCtr="0" compatLnSpc="1">
              <a:prstTxWarp prst="textNoShape">
                <a:avLst/>
              </a:prstTxWarp>
            </a:bodyPr>
            <a:lstStyle/>
            <a:p>
              <a:pPr defTabSz="685738"/>
              <a:endParaRPr lang="en-US" sz="1400" kern="0">
                <a:solidFill>
                  <a:sysClr val="windowText" lastClr="000000"/>
                </a:solidFill>
              </a:endParaRPr>
            </a:p>
          </p:txBody>
        </p:sp>
        <p:sp>
          <p:nvSpPr>
            <p:cNvPr id="61" name="Freeform 489">
              <a:extLst>
                <a:ext uri="{FF2B5EF4-FFF2-40B4-BE49-F238E27FC236}">
                  <a16:creationId xmlns:a16="http://schemas.microsoft.com/office/drawing/2014/main" id="{C4EF7EC4-C209-4A2A-9238-9D4BE71FFE5E}"/>
                </a:ext>
              </a:extLst>
            </p:cNvPr>
            <p:cNvSpPr>
              <a:spLocks/>
            </p:cNvSpPr>
            <p:nvPr/>
          </p:nvSpPr>
          <p:spPr bwMode="auto">
            <a:xfrm>
              <a:off x="9451976" y="2154238"/>
              <a:ext cx="201613" cy="201613"/>
            </a:xfrm>
            <a:custGeom>
              <a:avLst/>
              <a:gdLst>
                <a:gd name="T0" fmla="*/ 45 w 54"/>
                <a:gd name="T1" fmla="*/ 3 h 54"/>
                <a:gd name="T2" fmla="*/ 0 w 54"/>
                <a:gd name="T3" fmla="*/ 45 h 54"/>
                <a:gd name="T4" fmla="*/ 0 w 54"/>
                <a:gd name="T5" fmla="*/ 54 h 54"/>
                <a:gd name="T6" fmla="*/ 9 w 54"/>
                <a:gd name="T7" fmla="*/ 54 h 54"/>
                <a:gd name="T8" fmla="*/ 54 w 54"/>
                <a:gd name="T9" fmla="*/ 9 h 54"/>
                <a:gd name="T10" fmla="*/ 54 w 54"/>
                <a:gd name="T11" fmla="*/ 3 h 54"/>
                <a:gd name="T12" fmla="*/ 45 w 54"/>
                <a:gd name="T13" fmla="*/ 3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45" y="3"/>
                  </a:moveTo>
                  <a:cubicBezTo>
                    <a:pt x="0" y="45"/>
                    <a:pt x="0" y="45"/>
                    <a:pt x="0" y="45"/>
                  </a:cubicBezTo>
                  <a:cubicBezTo>
                    <a:pt x="0" y="48"/>
                    <a:pt x="0" y="51"/>
                    <a:pt x="0" y="54"/>
                  </a:cubicBezTo>
                  <a:cubicBezTo>
                    <a:pt x="3" y="54"/>
                    <a:pt x="6" y="54"/>
                    <a:pt x="9" y="54"/>
                  </a:cubicBezTo>
                  <a:cubicBezTo>
                    <a:pt x="54" y="9"/>
                    <a:pt x="54" y="9"/>
                    <a:pt x="54" y="9"/>
                  </a:cubicBezTo>
                  <a:cubicBezTo>
                    <a:pt x="54" y="6"/>
                    <a:pt x="54" y="3"/>
                    <a:pt x="54" y="3"/>
                  </a:cubicBezTo>
                  <a:cubicBezTo>
                    <a:pt x="51" y="0"/>
                    <a:pt x="48" y="0"/>
                    <a:pt x="45" y="3"/>
                  </a:cubicBezTo>
                </a:path>
              </a:pathLst>
            </a:custGeom>
            <a:solidFill>
              <a:srgbClr val="009999"/>
            </a:solidFill>
            <a:ln w="5258" cap="flat">
              <a:noFill/>
              <a:prstDash val="solid"/>
              <a:miter/>
            </a:ln>
          </p:spPr>
          <p:txBody>
            <a:bodyPr vert="horz" wrap="square" lIns="68577" tIns="34288" rIns="68577" bIns="34288" numCol="1" anchor="t" anchorCtr="0" compatLnSpc="1">
              <a:prstTxWarp prst="textNoShape">
                <a:avLst/>
              </a:prstTxWarp>
            </a:bodyPr>
            <a:lstStyle/>
            <a:p>
              <a:pPr defTabSz="685738"/>
              <a:endParaRPr lang="en-US" sz="1400" kern="0">
                <a:solidFill>
                  <a:sysClr val="windowText" lastClr="000000"/>
                </a:solidFill>
              </a:endParaRPr>
            </a:p>
          </p:txBody>
        </p:sp>
      </p:grpSp>
      <p:sp>
        <p:nvSpPr>
          <p:cNvPr id="64" name="Rectangle: Rounded Corners 63">
            <a:extLst>
              <a:ext uri="{FF2B5EF4-FFF2-40B4-BE49-F238E27FC236}">
                <a16:creationId xmlns:a16="http://schemas.microsoft.com/office/drawing/2014/main" id="{D9BB523D-F67E-4F91-A531-DF64DBB12720}"/>
              </a:ext>
            </a:extLst>
          </p:cNvPr>
          <p:cNvSpPr/>
          <p:nvPr/>
        </p:nvSpPr>
        <p:spPr bwMode="auto">
          <a:xfrm>
            <a:off x="314527" y="3338579"/>
            <a:ext cx="2006220" cy="795210"/>
          </a:xfrm>
          <a:prstGeom prst="roundRect">
            <a:avLst>
              <a:gd name="adj" fmla="val 9428"/>
            </a:avLst>
          </a:prstGeom>
          <a:solidFill>
            <a:schemeClr val="bg1">
              <a:lumMod val="9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r>
              <a:rPr lang="en-US" sz="2000">
                <a:solidFill>
                  <a:schemeClr val="tx2"/>
                </a:solidFill>
                <a:ea typeface="Segoe UI" pitchFamily="34" charset="0"/>
                <a:cs typeface="Segoe UI" pitchFamily="34" charset="0"/>
              </a:rPr>
              <a:t>         </a:t>
            </a:r>
            <a:endParaRPr lang="en-GB" sz="2000">
              <a:solidFill>
                <a:schemeClr val="tx2"/>
              </a:solidFill>
              <a:ea typeface="Segoe UI" pitchFamily="34" charset="0"/>
              <a:cs typeface="Segoe UI" pitchFamily="34" charset="0"/>
            </a:endParaRPr>
          </a:p>
        </p:txBody>
      </p:sp>
      <p:grpSp>
        <p:nvGrpSpPr>
          <p:cNvPr id="71" name="Group 4">
            <a:extLst>
              <a:ext uri="{FF2B5EF4-FFF2-40B4-BE49-F238E27FC236}">
                <a16:creationId xmlns:a16="http://schemas.microsoft.com/office/drawing/2014/main" id="{DA0E8CC2-FD31-4E02-A789-43CADB6FBA5D}"/>
              </a:ext>
            </a:extLst>
          </p:cNvPr>
          <p:cNvGrpSpPr>
            <a:grpSpLocks noChangeAspect="1"/>
          </p:cNvGrpSpPr>
          <p:nvPr/>
        </p:nvGrpSpPr>
        <p:grpSpPr bwMode="auto">
          <a:xfrm>
            <a:off x="480225" y="3487093"/>
            <a:ext cx="532260" cy="533009"/>
            <a:chOff x="5836" y="1401"/>
            <a:chExt cx="711" cy="712"/>
          </a:xfrm>
        </p:grpSpPr>
        <p:sp>
          <p:nvSpPr>
            <p:cNvPr id="66" name="AutoShape 3">
              <a:extLst>
                <a:ext uri="{FF2B5EF4-FFF2-40B4-BE49-F238E27FC236}">
                  <a16:creationId xmlns:a16="http://schemas.microsoft.com/office/drawing/2014/main" id="{67F6867F-F4EF-435A-AC81-5A827D7A1B44}"/>
                </a:ext>
              </a:extLst>
            </p:cNvPr>
            <p:cNvSpPr>
              <a:spLocks noChangeAspect="1" noChangeArrowheads="1" noTextEdit="1"/>
            </p:cNvSpPr>
            <p:nvPr/>
          </p:nvSpPr>
          <p:spPr bwMode="auto">
            <a:xfrm>
              <a:off x="5842" y="1401"/>
              <a:ext cx="705" cy="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67" name="Oval 5">
              <a:extLst>
                <a:ext uri="{FF2B5EF4-FFF2-40B4-BE49-F238E27FC236}">
                  <a16:creationId xmlns:a16="http://schemas.microsoft.com/office/drawing/2014/main" id="{8DE686C5-DCF6-41CE-9298-56DD8E7EEAC1}"/>
                </a:ext>
              </a:extLst>
            </p:cNvPr>
            <p:cNvSpPr>
              <a:spLocks noChangeArrowheads="1"/>
            </p:cNvSpPr>
            <p:nvPr/>
          </p:nvSpPr>
          <p:spPr bwMode="auto">
            <a:xfrm>
              <a:off x="5836" y="1407"/>
              <a:ext cx="705" cy="706"/>
            </a:xfrm>
            <a:prstGeom prst="ellipse">
              <a:avLst/>
            </a:pr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68" name="Oval 6">
              <a:extLst>
                <a:ext uri="{FF2B5EF4-FFF2-40B4-BE49-F238E27FC236}">
                  <a16:creationId xmlns:a16="http://schemas.microsoft.com/office/drawing/2014/main" id="{00896EF8-ECF9-4DAE-89ED-F595CD28266D}"/>
                </a:ext>
              </a:extLst>
            </p:cNvPr>
            <p:cNvSpPr>
              <a:spLocks noChangeArrowheads="1"/>
            </p:cNvSpPr>
            <p:nvPr/>
          </p:nvSpPr>
          <p:spPr bwMode="auto">
            <a:xfrm>
              <a:off x="5948" y="1519"/>
              <a:ext cx="482" cy="4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69" name="Freeform 7">
              <a:extLst>
                <a:ext uri="{FF2B5EF4-FFF2-40B4-BE49-F238E27FC236}">
                  <a16:creationId xmlns:a16="http://schemas.microsoft.com/office/drawing/2014/main" id="{E9DF2374-6544-41EC-A9F2-E0AACFC0C86A}"/>
                </a:ext>
              </a:extLst>
            </p:cNvPr>
            <p:cNvSpPr>
              <a:spLocks/>
            </p:cNvSpPr>
            <p:nvPr/>
          </p:nvSpPr>
          <p:spPr bwMode="auto">
            <a:xfrm>
              <a:off x="6148" y="1719"/>
              <a:ext cx="82" cy="229"/>
            </a:xfrm>
            <a:custGeom>
              <a:avLst/>
              <a:gdLst>
                <a:gd name="T0" fmla="*/ 0 w 14"/>
                <a:gd name="T1" fmla="*/ 7 h 39"/>
                <a:gd name="T2" fmla="*/ 7 w 14"/>
                <a:gd name="T3" fmla="*/ 0 h 39"/>
                <a:gd name="T4" fmla="*/ 14 w 14"/>
                <a:gd name="T5" fmla="*/ 7 h 39"/>
                <a:gd name="T6" fmla="*/ 7 w 14"/>
                <a:gd name="T7" fmla="*/ 39 h 39"/>
                <a:gd name="T8" fmla="*/ 0 w 14"/>
                <a:gd name="T9" fmla="*/ 7 h 39"/>
              </a:gdLst>
              <a:ahLst/>
              <a:cxnLst>
                <a:cxn ang="0">
                  <a:pos x="T0" y="T1"/>
                </a:cxn>
                <a:cxn ang="0">
                  <a:pos x="T2" y="T3"/>
                </a:cxn>
                <a:cxn ang="0">
                  <a:pos x="T4" y="T5"/>
                </a:cxn>
                <a:cxn ang="0">
                  <a:pos x="T6" y="T7"/>
                </a:cxn>
                <a:cxn ang="0">
                  <a:pos x="T8" y="T9"/>
                </a:cxn>
              </a:cxnLst>
              <a:rect l="0" t="0" r="r" b="b"/>
              <a:pathLst>
                <a:path w="14" h="39">
                  <a:moveTo>
                    <a:pt x="0" y="7"/>
                  </a:moveTo>
                  <a:cubicBezTo>
                    <a:pt x="0" y="3"/>
                    <a:pt x="3" y="0"/>
                    <a:pt x="7" y="0"/>
                  </a:cubicBezTo>
                  <a:cubicBezTo>
                    <a:pt x="11" y="0"/>
                    <a:pt x="14" y="3"/>
                    <a:pt x="14" y="7"/>
                  </a:cubicBezTo>
                  <a:cubicBezTo>
                    <a:pt x="14" y="11"/>
                    <a:pt x="7" y="39"/>
                    <a:pt x="7" y="39"/>
                  </a:cubicBezTo>
                  <a:cubicBezTo>
                    <a:pt x="7" y="39"/>
                    <a:pt x="0" y="11"/>
                    <a:pt x="0" y="7"/>
                  </a:cubicBezTo>
                  <a:close/>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70" name="Freeform 8">
              <a:extLst>
                <a:ext uri="{FF2B5EF4-FFF2-40B4-BE49-F238E27FC236}">
                  <a16:creationId xmlns:a16="http://schemas.microsoft.com/office/drawing/2014/main" id="{B32CB6A8-1285-48AE-AF6A-F3154F7987FD}"/>
                </a:ext>
              </a:extLst>
            </p:cNvPr>
            <p:cNvSpPr>
              <a:spLocks/>
            </p:cNvSpPr>
            <p:nvPr/>
          </p:nvSpPr>
          <p:spPr bwMode="auto">
            <a:xfrm>
              <a:off x="6148" y="1572"/>
              <a:ext cx="82" cy="229"/>
            </a:xfrm>
            <a:custGeom>
              <a:avLst/>
              <a:gdLst>
                <a:gd name="T0" fmla="*/ 14 w 14"/>
                <a:gd name="T1" fmla="*/ 32 h 39"/>
                <a:gd name="T2" fmla="*/ 7 w 14"/>
                <a:gd name="T3" fmla="*/ 39 h 39"/>
                <a:gd name="T4" fmla="*/ 0 w 14"/>
                <a:gd name="T5" fmla="*/ 32 h 39"/>
                <a:gd name="T6" fmla="*/ 7 w 14"/>
                <a:gd name="T7" fmla="*/ 0 h 39"/>
                <a:gd name="T8" fmla="*/ 14 w 14"/>
                <a:gd name="T9" fmla="*/ 32 h 39"/>
              </a:gdLst>
              <a:ahLst/>
              <a:cxnLst>
                <a:cxn ang="0">
                  <a:pos x="T0" y="T1"/>
                </a:cxn>
                <a:cxn ang="0">
                  <a:pos x="T2" y="T3"/>
                </a:cxn>
                <a:cxn ang="0">
                  <a:pos x="T4" y="T5"/>
                </a:cxn>
                <a:cxn ang="0">
                  <a:pos x="T6" y="T7"/>
                </a:cxn>
                <a:cxn ang="0">
                  <a:pos x="T8" y="T9"/>
                </a:cxn>
              </a:cxnLst>
              <a:rect l="0" t="0" r="r" b="b"/>
              <a:pathLst>
                <a:path w="14" h="39">
                  <a:moveTo>
                    <a:pt x="14" y="32"/>
                  </a:moveTo>
                  <a:cubicBezTo>
                    <a:pt x="14" y="36"/>
                    <a:pt x="11" y="39"/>
                    <a:pt x="7" y="39"/>
                  </a:cubicBezTo>
                  <a:cubicBezTo>
                    <a:pt x="3" y="39"/>
                    <a:pt x="0" y="36"/>
                    <a:pt x="0" y="32"/>
                  </a:cubicBezTo>
                  <a:cubicBezTo>
                    <a:pt x="0" y="28"/>
                    <a:pt x="7" y="0"/>
                    <a:pt x="7" y="0"/>
                  </a:cubicBezTo>
                  <a:cubicBezTo>
                    <a:pt x="7" y="0"/>
                    <a:pt x="14" y="28"/>
                    <a:pt x="14" y="32"/>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p>
          </p:txBody>
        </p:sp>
      </p:grpSp>
      <p:sp>
        <p:nvSpPr>
          <p:cNvPr id="73" name="TextBox 72">
            <a:extLst>
              <a:ext uri="{FF2B5EF4-FFF2-40B4-BE49-F238E27FC236}">
                <a16:creationId xmlns:a16="http://schemas.microsoft.com/office/drawing/2014/main" id="{5B08562E-2348-4519-AC85-149871CFB0B7}"/>
              </a:ext>
            </a:extLst>
          </p:cNvPr>
          <p:cNvSpPr txBox="1"/>
          <p:nvPr/>
        </p:nvSpPr>
        <p:spPr>
          <a:xfrm>
            <a:off x="3113264" y="1903661"/>
            <a:ext cx="764616" cy="313904"/>
          </a:xfrm>
          <a:prstGeom prst="rect">
            <a:avLst/>
          </a:prstGeom>
          <a:noFill/>
        </p:spPr>
        <p:txBody>
          <a:bodyPr wrap="none" lIns="0" tIns="0" rIns="0" bIns="0" rtlCol="0">
            <a:spAutoFit/>
          </a:bodyPr>
          <a:lstStyle/>
          <a:p>
            <a:pPr algn="l"/>
            <a:r>
              <a:rPr lang="en-US" sz="2000">
                <a:latin typeface="+mj-lt"/>
              </a:rPr>
              <a:t>Create</a:t>
            </a:r>
            <a:endParaRPr lang="en-GB" sz="2000" err="1">
              <a:latin typeface="+mj-lt"/>
            </a:endParaRPr>
          </a:p>
        </p:txBody>
      </p:sp>
      <p:sp>
        <p:nvSpPr>
          <p:cNvPr id="75" name="TextBox 74">
            <a:extLst>
              <a:ext uri="{FF2B5EF4-FFF2-40B4-BE49-F238E27FC236}">
                <a16:creationId xmlns:a16="http://schemas.microsoft.com/office/drawing/2014/main" id="{828007F8-97B9-4D1A-8A09-00C6BA7D221F}"/>
              </a:ext>
            </a:extLst>
          </p:cNvPr>
          <p:cNvSpPr txBox="1"/>
          <p:nvPr/>
        </p:nvSpPr>
        <p:spPr>
          <a:xfrm>
            <a:off x="6189304" y="1926658"/>
            <a:ext cx="604918" cy="313904"/>
          </a:xfrm>
          <a:prstGeom prst="rect">
            <a:avLst/>
          </a:prstGeom>
          <a:noFill/>
        </p:spPr>
        <p:txBody>
          <a:bodyPr wrap="none" lIns="0" tIns="0" rIns="0" bIns="0" rtlCol="0">
            <a:spAutoFit/>
          </a:bodyPr>
          <a:lstStyle/>
          <a:p>
            <a:pPr algn="l"/>
            <a:r>
              <a:rPr lang="en-US" sz="2000">
                <a:latin typeface="+mj-lt"/>
              </a:rPr>
              <a:t>Build</a:t>
            </a:r>
            <a:endParaRPr lang="en-GB" sz="2000" err="1">
              <a:latin typeface="+mj-lt"/>
            </a:endParaRPr>
          </a:p>
        </p:txBody>
      </p:sp>
      <p:sp>
        <p:nvSpPr>
          <p:cNvPr id="77" name="TextBox 76">
            <a:extLst>
              <a:ext uri="{FF2B5EF4-FFF2-40B4-BE49-F238E27FC236}">
                <a16:creationId xmlns:a16="http://schemas.microsoft.com/office/drawing/2014/main" id="{FE9E1659-894C-4352-AC48-3D9339DCC29F}"/>
              </a:ext>
            </a:extLst>
          </p:cNvPr>
          <p:cNvSpPr txBox="1"/>
          <p:nvPr/>
        </p:nvSpPr>
        <p:spPr>
          <a:xfrm>
            <a:off x="10281797" y="621736"/>
            <a:ext cx="66" cy="313904"/>
          </a:xfrm>
          <a:prstGeom prst="rect">
            <a:avLst/>
          </a:prstGeom>
          <a:noFill/>
        </p:spPr>
        <p:txBody>
          <a:bodyPr wrap="none" lIns="0" tIns="0" rIns="0" bIns="0" rtlCol="0">
            <a:spAutoFit/>
          </a:bodyPr>
          <a:lstStyle/>
          <a:p>
            <a:pPr algn="l"/>
            <a:endParaRPr lang="en-GB" sz="2000" err="1"/>
          </a:p>
        </p:txBody>
      </p:sp>
      <p:sp>
        <p:nvSpPr>
          <p:cNvPr id="79" name="TextBox 78">
            <a:extLst>
              <a:ext uri="{FF2B5EF4-FFF2-40B4-BE49-F238E27FC236}">
                <a16:creationId xmlns:a16="http://schemas.microsoft.com/office/drawing/2014/main" id="{B852BA13-7E10-4556-A4D2-9B8823A8AFD2}"/>
              </a:ext>
            </a:extLst>
          </p:cNvPr>
          <p:cNvSpPr txBox="1"/>
          <p:nvPr/>
        </p:nvSpPr>
        <p:spPr>
          <a:xfrm>
            <a:off x="10881437" y="3576771"/>
            <a:ext cx="1277910" cy="313904"/>
          </a:xfrm>
          <a:prstGeom prst="rect">
            <a:avLst/>
          </a:prstGeom>
          <a:noFill/>
        </p:spPr>
        <p:txBody>
          <a:bodyPr wrap="square" lIns="0" tIns="0" rIns="0" bIns="0" rtlCol="0">
            <a:spAutoFit/>
          </a:bodyPr>
          <a:lstStyle/>
          <a:p>
            <a:pPr algn="l"/>
            <a:r>
              <a:rPr lang="en-US" sz="2000">
                <a:latin typeface="+mj-lt"/>
              </a:rPr>
              <a:t>C</a:t>
            </a:r>
            <a:r>
              <a:rPr lang="en-GB" sz="2000" err="1">
                <a:latin typeface="+mj-lt"/>
              </a:rPr>
              <a:t>onfigure</a:t>
            </a:r>
            <a:endParaRPr lang="en-GB" sz="2000">
              <a:latin typeface="+mj-lt"/>
            </a:endParaRPr>
          </a:p>
        </p:txBody>
      </p:sp>
      <p:sp>
        <p:nvSpPr>
          <p:cNvPr id="81" name="TextBox 80">
            <a:extLst>
              <a:ext uri="{FF2B5EF4-FFF2-40B4-BE49-F238E27FC236}">
                <a16:creationId xmlns:a16="http://schemas.microsoft.com/office/drawing/2014/main" id="{D3BA41B7-E7A6-406F-82AA-5FB6810606C8}"/>
              </a:ext>
            </a:extLst>
          </p:cNvPr>
          <p:cNvSpPr txBox="1"/>
          <p:nvPr/>
        </p:nvSpPr>
        <p:spPr>
          <a:xfrm>
            <a:off x="7552166" y="4787521"/>
            <a:ext cx="869423" cy="313904"/>
          </a:xfrm>
          <a:prstGeom prst="rect">
            <a:avLst/>
          </a:prstGeom>
          <a:noFill/>
        </p:spPr>
        <p:txBody>
          <a:bodyPr wrap="square" lIns="0" tIns="0" rIns="0" bIns="0" rtlCol="0">
            <a:spAutoFit/>
          </a:bodyPr>
          <a:lstStyle/>
          <a:p>
            <a:pPr algn="l"/>
            <a:r>
              <a:rPr lang="en-GB" sz="2000">
                <a:latin typeface="+mj-lt"/>
              </a:rPr>
              <a:t>Extend</a:t>
            </a:r>
          </a:p>
        </p:txBody>
      </p:sp>
      <p:sp>
        <p:nvSpPr>
          <p:cNvPr id="83" name="TextBox 82">
            <a:extLst>
              <a:ext uri="{FF2B5EF4-FFF2-40B4-BE49-F238E27FC236}">
                <a16:creationId xmlns:a16="http://schemas.microsoft.com/office/drawing/2014/main" id="{8E4456FB-42B9-4ADA-8664-9965DD9386DC}"/>
              </a:ext>
            </a:extLst>
          </p:cNvPr>
          <p:cNvSpPr txBox="1"/>
          <p:nvPr/>
        </p:nvSpPr>
        <p:spPr>
          <a:xfrm>
            <a:off x="4310999" y="4778131"/>
            <a:ext cx="892337" cy="313904"/>
          </a:xfrm>
          <a:prstGeom prst="rect">
            <a:avLst/>
          </a:prstGeom>
          <a:noFill/>
        </p:spPr>
        <p:txBody>
          <a:bodyPr wrap="none" lIns="0" tIns="0" rIns="0" bIns="0" rtlCol="0">
            <a:spAutoFit/>
          </a:bodyPr>
          <a:lstStyle/>
          <a:p>
            <a:pPr algn="l"/>
            <a:r>
              <a:rPr lang="en-US" sz="2000">
                <a:latin typeface="+mj-lt"/>
              </a:rPr>
              <a:t>Release</a:t>
            </a:r>
            <a:endParaRPr lang="en-GB" sz="2000" err="1">
              <a:latin typeface="+mj-lt"/>
            </a:endParaRPr>
          </a:p>
        </p:txBody>
      </p:sp>
      <p:sp>
        <p:nvSpPr>
          <p:cNvPr id="85" name="TextBox 84">
            <a:extLst>
              <a:ext uri="{FF2B5EF4-FFF2-40B4-BE49-F238E27FC236}">
                <a16:creationId xmlns:a16="http://schemas.microsoft.com/office/drawing/2014/main" id="{82F394C7-9B48-44DE-989E-93732F9B1C85}"/>
              </a:ext>
            </a:extLst>
          </p:cNvPr>
          <p:cNvSpPr txBox="1"/>
          <p:nvPr/>
        </p:nvSpPr>
        <p:spPr>
          <a:xfrm>
            <a:off x="1191321" y="3589568"/>
            <a:ext cx="986442" cy="313904"/>
          </a:xfrm>
          <a:prstGeom prst="rect">
            <a:avLst/>
          </a:prstGeom>
          <a:noFill/>
        </p:spPr>
        <p:txBody>
          <a:bodyPr wrap="none" lIns="0" tIns="0" rIns="0" bIns="0" rtlCol="0">
            <a:spAutoFit/>
          </a:bodyPr>
          <a:lstStyle/>
          <a:p>
            <a:pPr algn="l"/>
            <a:r>
              <a:rPr lang="en-US" sz="2000">
                <a:latin typeface="+mj-lt"/>
              </a:rPr>
              <a:t>Improve</a:t>
            </a:r>
            <a:endParaRPr lang="en-GB" sz="2000" err="1">
              <a:latin typeface="+mj-lt"/>
            </a:endParaRPr>
          </a:p>
        </p:txBody>
      </p:sp>
      <p:sp>
        <p:nvSpPr>
          <p:cNvPr id="87" name="binary" title="Icon of binary code, ones and zeros">
            <a:extLst>
              <a:ext uri="{FF2B5EF4-FFF2-40B4-BE49-F238E27FC236}">
                <a16:creationId xmlns:a16="http://schemas.microsoft.com/office/drawing/2014/main" id="{12BB78C9-CD2D-4675-98BE-003D58BBC817}"/>
              </a:ext>
            </a:extLst>
          </p:cNvPr>
          <p:cNvSpPr>
            <a:spLocks noChangeAspect="1" noEditPoints="1"/>
          </p:cNvSpPr>
          <p:nvPr/>
        </p:nvSpPr>
        <p:spPr bwMode="auto">
          <a:xfrm>
            <a:off x="8397042" y="1882313"/>
            <a:ext cx="466235" cy="40259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rgbClr val="00999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066">
              <a:defRPr/>
            </a:pPr>
            <a:endParaRPr lang="en-US" sz="1900">
              <a:solidFill>
                <a:srgbClr val="353535"/>
              </a:solidFill>
              <a:latin typeface="Segoe UI Semilight"/>
            </a:endParaRPr>
          </a:p>
        </p:txBody>
      </p:sp>
    </p:spTree>
    <p:extLst>
      <p:ext uri="{BB962C8B-B14F-4D97-AF65-F5344CB8AC3E}">
        <p14:creationId xmlns:p14="http://schemas.microsoft.com/office/powerpoint/2010/main" val="4061991580"/>
      </p:ext>
    </p:extLst>
  </p:cSld>
  <p:clrMapOvr>
    <a:masterClrMapping/>
  </p:clrMapOvr>
  <p:transition>
    <p:fade/>
  </p:transition>
  <p:extLst>
    <p:ext uri="{6950BFC3-D8DA-4A85-94F7-54DA5524770B}">
      <p188:commentRel xmlns:p188="http://schemas.microsoft.com/office/powerpoint/2018/8/main" r:id="rId3"/>
    </p:ext>
  </p:extLs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9EB481-07D4-4392-9DE5-D0678F93BAF6}"/>
              </a:ext>
            </a:extLst>
          </p:cNvPr>
          <p:cNvSpPr>
            <a:spLocks noGrp="1"/>
          </p:cNvSpPr>
          <p:nvPr>
            <p:ph type="title"/>
          </p:nvPr>
        </p:nvSpPr>
        <p:spPr/>
        <p:txBody>
          <a:bodyPr/>
          <a:lstStyle/>
          <a:p>
            <a:r>
              <a:rPr lang="en-US">
                <a:cs typeface="Segoe UI"/>
              </a:rPr>
              <a:t>Learn More</a:t>
            </a:r>
            <a:endParaRPr lang="en-US"/>
          </a:p>
        </p:txBody>
      </p:sp>
      <p:sp>
        <p:nvSpPr>
          <p:cNvPr id="4" name="TextBox 3">
            <a:extLst>
              <a:ext uri="{FF2B5EF4-FFF2-40B4-BE49-F238E27FC236}">
                <a16:creationId xmlns:a16="http://schemas.microsoft.com/office/drawing/2014/main" id="{4BD5A158-0057-485E-8B9D-123B10405B86}"/>
              </a:ext>
            </a:extLst>
          </p:cNvPr>
          <p:cNvSpPr txBox="1"/>
          <p:nvPr/>
        </p:nvSpPr>
        <p:spPr>
          <a:xfrm>
            <a:off x="503237" y="1287462"/>
            <a:ext cx="10896600" cy="1258806"/>
          </a:xfrm>
          <a:prstGeom prst="rect">
            <a:avLst/>
          </a:prstGeom>
          <a:noFill/>
        </p:spPr>
        <p:txBody>
          <a:bodyPr wrap="square" lIns="182880" tIns="146304" rIns="182880" bIns="146304" rtlCol="0" anchor="t">
            <a:spAutoFit/>
          </a:bodyPr>
          <a:lstStyle/>
          <a:p>
            <a:pPr>
              <a:lnSpc>
                <a:spcPct val="90000"/>
              </a:lnSpc>
              <a:spcAft>
                <a:spcPts val="600"/>
              </a:spcAft>
            </a:pPr>
            <a:r>
              <a:rPr lang="en-US" sz="3200">
                <a:solidFill>
                  <a:schemeClr val="tx1">
                    <a:lumMod val="50000"/>
                  </a:schemeClr>
                </a:solidFill>
                <a:latin typeface="Segoe UI"/>
                <a:cs typeface="Segoe UI"/>
              </a:rPr>
              <a:t>Dataverse for teams Workshop</a:t>
            </a:r>
          </a:p>
          <a:p>
            <a:pPr>
              <a:lnSpc>
                <a:spcPct val="90000"/>
              </a:lnSpc>
              <a:spcAft>
                <a:spcPts val="600"/>
              </a:spcAft>
            </a:pPr>
            <a:r>
              <a:rPr lang="en-US" sz="3200">
                <a:ea typeface="+mn-lt"/>
                <a:cs typeface="+mn-lt"/>
                <a:hlinkClick r:id="rId2"/>
              </a:rPr>
              <a:t>DataSheet</a:t>
            </a:r>
            <a:endParaRPr lang="en-US"/>
          </a:p>
        </p:txBody>
      </p:sp>
    </p:spTree>
    <p:extLst>
      <p:ext uri="{BB962C8B-B14F-4D97-AF65-F5344CB8AC3E}">
        <p14:creationId xmlns:p14="http://schemas.microsoft.com/office/powerpoint/2010/main" val="118501636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2">
            <a:extLst>
              <a:ext uri="{FF2B5EF4-FFF2-40B4-BE49-F238E27FC236}">
                <a16:creationId xmlns:a16="http://schemas.microsoft.com/office/drawing/2014/main" id="{6F9EB9F2-07E2-4D64-BBD8-BB5B217F1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8012" y="326411"/>
            <a:ext cx="11780450" cy="6341702"/>
          </a:xfrm>
          <a:prstGeom prst="rect">
            <a:avLst/>
          </a:prstGeom>
          <a:solidFill>
            <a:schemeClr val="tx1">
              <a:alpha val="12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4B90FCF2-EECD-430D-9A80-C888748FFCE6}"/>
              </a:ext>
            </a:extLst>
          </p:cNvPr>
          <p:cNvSpPr>
            <a:spLocks noGrp="1"/>
          </p:cNvSpPr>
          <p:nvPr>
            <p:ph type="title"/>
          </p:nvPr>
        </p:nvSpPr>
        <p:spPr>
          <a:xfrm>
            <a:off x="4468427" y="984413"/>
            <a:ext cx="6901752" cy="5025697"/>
          </a:xfrm>
        </p:spPr>
        <p:txBody>
          <a:bodyPr vert="horz" lIns="91440" tIns="45720" rIns="91440" bIns="45720" rtlCol="0" anchor="ctr">
            <a:normAutofit/>
          </a:bodyPr>
          <a:lstStyle/>
          <a:p>
            <a:pPr defTabSz="914400"/>
            <a:r>
              <a:rPr lang="en-US" sz="5500" kern="1200">
                <a:solidFill>
                  <a:schemeClr val="tx1">
                    <a:lumMod val="85000"/>
                    <a:lumOff val="15000"/>
                  </a:schemeClr>
                </a:solidFill>
                <a:latin typeface="+mj-lt"/>
                <a:ea typeface="+mj-ea"/>
                <a:cs typeface="+mj-cs"/>
              </a:rPr>
              <a:t>Administration Overview</a:t>
            </a:r>
            <a:br>
              <a:rPr lang="en-US" sz="5500" kern="1200">
                <a:solidFill>
                  <a:schemeClr val="tx1">
                    <a:lumMod val="85000"/>
                    <a:lumOff val="15000"/>
                  </a:schemeClr>
                </a:solidFill>
                <a:latin typeface="+mj-lt"/>
                <a:ea typeface="+mj-ea"/>
                <a:cs typeface="+mj-cs"/>
              </a:rPr>
            </a:br>
            <a:endParaRPr lang="en-US" sz="5500" kern="1200">
              <a:solidFill>
                <a:schemeClr val="tx1">
                  <a:lumMod val="85000"/>
                  <a:lumOff val="15000"/>
                </a:schemeClr>
              </a:solidFill>
              <a:latin typeface="+mj-lt"/>
              <a:ea typeface="+mj-ea"/>
              <a:cs typeface="+mj-cs"/>
            </a:endParaRPr>
          </a:p>
        </p:txBody>
      </p:sp>
      <p:cxnSp>
        <p:nvCxnSpPr>
          <p:cNvPr id="30" name="Straight Connector 24">
            <a:extLst>
              <a:ext uri="{FF2B5EF4-FFF2-40B4-BE49-F238E27FC236}">
                <a16:creationId xmlns:a16="http://schemas.microsoft.com/office/drawing/2014/main" id="{F0C57C7C-DFE9-4A1E-B7A9-DF40E63366B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137220" y="2098356"/>
            <a:ext cx="0" cy="279781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5364846"/>
      </p:ext>
    </p:extLst>
  </p:cSld>
  <p:clrMapOvr>
    <a:masterClrMapping/>
  </p:clrMapOvr>
  <p:transition>
    <p:fade/>
  </p:transition>
  <p:extLst>
    <p:ext uri="{6950BFC3-D8DA-4A85-94F7-54DA5524770B}">
      <p188:commentRel xmlns:p188="http://schemas.microsoft.com/office/powerpoint/2018/8/main" r:id="rId2"/>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1F057-4164-4917-9DC7-1568A4EDC3E7}"/>
              </a:ext>
            </a:extLst>
          </p:cNvPr>
          <p:cNvSpPr>
            <a:spLocks noGrp="1"/>
          </p:cNvSpPr>
          <p:nvPr>
            <p:ph type="title"/>
          </p:nvPr>
        </p:nvSpPr>
        <p:spPr/>
        <p:txBody>
          <a:bodyPr/>
          <a:lstStyle/>
          <a:p>
            <a:r>
              <a:rPr lang="en-US">
                <a:solidFill>
                  <a:srgbClr val="0078D7"/>
                </a:solidFill>
                <a:cs typeface="Segoe UI"/>
              </a:rPr>
              <a:t>Power Platform Admin Center</a:t>
            </a:r>
          </a:p>
        </p:txBody>
      </p:sp>
      <p:pic>
        <p:nvPicPr>
          <p:cNvPr id="4" name="Picture 5" descr="Graphical user interface, table&#10;&#10;Description automatically generated">
            <a:extLst>
              <a:ext uri="{FF2B5EF4-FFF2-40B4-BE49-F238E27FC236}">
                <a16:creationId xmlns:a16="http://schemas.microsoft.com/office/drawing/2014/main" id="{E45C4B4C-7371-4C9E-870C-F6EF1C192C6C}"/>
              </a:ext>
            </a:extLst>
          </p:cNvPr>
          <p:cNvPicPr>
            <a:picLocks noChangeAspect="1"/>
          </p:cNvPicPr>
          <p:nvPr/>
        </p:nvPicPr>
        <p:blipFill>
          <a:blip r:embed="rId3"/>
          <a:stretch>
            <a:fillRect/>
          </a:stretch>
        </p:blipFill>
        <p:spPr>
          <a:xfrm>
            <a:off x="236336" y="1126184"/>
            <a:ext cx="11941827" cy="5237112"/>
          </a:xfrm>
          <a:prstGeom prst="rect">
            <a:avLst/>
          </a:prstGeom>
        </p:spPr>
      </p:pic>
    </p:spTree>
    <p:extLst>
      <p:ext uri="{BB962C8B-B14F-4D97-AF65-F5344CB8AC3E}">
        <p14:creationId xmlns:p14="http://schemas.microsoft.com/office/powerpoint/2010/main" val="287569561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548139" y="294677"/>
            <a:ext cx="11887454" cy="471159"/>
          </a:xfrm>
        </p:spPr>
        <p:txBody>
          <a:bodyPr/>
          <a:lstStyle/>
          <a:p>
            <a:r>
              <a:rPr lang="en-US">
                <a:noFill/>
              </a:rPr>
              <a:t>Disclaimer</a:t>
            </a:r>
          </a:p>
        </p:txBody>
      </p:sp>
    </p:spTree>
    <p:custDataLst>
      <p:tags r:id="rId1"/>
    </p:custDataLst>
    <p:extLst>
      <p:ext uri="{BB962C8B-B14F-4D97-AF65-F5344CB8AC3E}">
        <p14:creationId xmlns:p14="http://schemas.microsoft.com/office/powerpoint/2010/main" val="1726115058"/>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1F057-4164-4917-9DC7-1568A4EDC3E7}"/>
              </a:ext>
            </a:extLst>
          </p:cNvPr>
          <p:cNvSpPr>
            <a:spLocks noGrp="1"/>
          </p:cNvSpPr>
          <p:nvPr>
            <p:ph type="title"/>
          </p:nvPr>
        </p:nvSpPr>
        <p:spPr/>
        <p:txBody>
          <a:bodyPr/>
          <a:lstStyle/>
          <a:p>
            <a:r>
              <a:rPr lang="en-US">
                <a:solidFill>
                  <a:srgbClr val="0078D7"/>
                </a:solidFill>
                <a:cs typeface="Segoe UI"/>
              </a:rPr>
              <a:t>Power Platform Admin Center Capabilities</a:t>
            </a:r>
            <a:endParaRPr lang="en-US">
              <a:solidFill>
                <a:srgbClr val="0078D7"/>
              </a:solidFill>
            </a:endParaRPr>
          </a:p>
        </p:txBody>
      </p:sp>
      <p:pic>
        <p:nvPicPr>
          <p:cNvPr id="3" name="Picture 3" descr="Graphical user interface, application, email&#10;&#10;Description automatically generated">
            <a:extLst>
              <a:ext uri="{FF2B5EF4-FFF2-40B4-BE49-F238E27FC236}">
                <a16:creationId xmlns:a16="http://schemas.microsoft.com/office/drawing/2014/main" id="{87D49655-ABFE-418C-A9DF-6C9404C4720E}"/>
              </a:ext>
            </a:extLst>
          </p:cNvPr>
          <p:cNvPicPr>
            <a:picLocks noChangeAspect="1"/>
          </p:cNvPicPr>
          <p:nvPr/>
        </p:nvPicPr>
        <p:blipFill rotWithShape="1">
          <a:blip r:embed="rId3"/>
          <a:srcRect l="443" t="6677" r="89745" b="13509"/>
          <a:stretch/>
        </p:blipFill>
        <p:spPr>
          <a:xfrm>
            <a:off x="2253971" y="1139604"/>
            <a:ext cx="1909310" cy="5550359"/>
          </a:xfrm>
          <a:prstGeom prst="rect">
            <a:avLst/>
          </a:prstGeom>
        </p:spPr>
      </p:pic>
      <p:cxnSp>
        <p:nvCxnSpPr>
          <p:cNvPr id="4" name="Straight Arrow Connector 3">
            <a:extLst>
              <a:ext uri="{FF2B5EF4-FFF2-40B4-BE49-F238E27FC236}">
                <a16:creationId xmlns:a16="http://schemas.microsoft.com/office/drawing/2014/main" id="{E7A2FD36-8CF4-4359-8CD6-2D1B7A5A2214}"/>
              </a:ext>
            </a:extLst>
          </p:cNvPr>
          <p:cNvCxnSpPr>
            <a:cxnSpLocks/>
          </p:cNvCxnSpPr>
          <p:nvPr/>
        </p:nvCxnSpPr>
        <p:spPr>
          <a:xfrm flipH="1" flipV="1">
            <a:off x="4204877" y="1723760"/>
            <a:ext cx="748066" cy="1926"/>
          </a:xfrm>
          <a:prstGeom prst="straightConnector1">
            <a:avLst/>
          </a:prstGeom>
          <a:ln w="76200">
            <a:headEnd type="none"/>
            <a:tailEnd type="triangle"/>
          </a:ln>
        </p:spPr>
        <p:style>
          <a:lnRef idx="2">
            <a:schemeClr val="accent2"/>
          </a:lnRef>
          <a:fillRef idx="0">
            <a:schemeClr val="accent2"/>
          </a:fillRef>
          <a:effectRef idx="1">
            <a:schemeClr val="accent2"/>
          </a:effectRef>
          <a:fontRef idx="minor">
            <a:schemeClr val="tx1"/>
          </a:fontRef>
        </p:style>
      </p:cxnSp>
      <p:sp>
        <p:nvSpPr>
          <p:cNvPr id="9" name="TextBox 8">
            <a:extLst>
              <a:ext uri="{FF2B5EF4-FFF2-40B4-BE49-F238E27FC236}">
                <a16:creationId xmlns:a16="http://schemas.microsoft.com/office/drawing/2014/main" id="{9E1766E7-7E89-4069-BD5F-5C6AE8594A41}"/>
              </a:ext>
            </a:extLst>
          </p:cNvPr>
          <p:cNvSpPr txBox="1"/>
          <p:nvPr/>
        </p:nvSpPr>
        <p:spPr>
          <a:xfrm>
            <a:off x="4835856" y="1488457"/>
            <a:ext cx="6324213" cy="544765"/>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a:gradFill>
                  <a:gsLst>
                    <a:gs pos="2917">
                      <a:schemeClr val="tx1"/>
                    </a:gs>
                    <a:gs pos="30000">
                      <a:schemeClr val="tx1"/>
                    </a:gs>
                  </a:gsLst>
                  <a:lin ang="5400000" scaled="0"/>
                </a:gradFill>
                <a:latin typeface="Segoe UI Light"/>
                <a:cs typeface="Segoe UI Light"/>
              </a:rPr>
              <a:t>View, create, and manage environments.</a:t>
            </a:r>
            <a:endParaRPr lang="en-US">
              <a:latin typeface="Segoe UI Light"/>
              <a:cs typeface="Segoe UI Light"/>
            </a:endParaRPr>
          </a:p>
        </p:txBody>
      </p:sp>
      <p:cxnSp>
        <p:nvCxnSpPr>
          <p:cNvPr id="10" name="Straight Arrow Connector 9">
            <a:extLst>
              <a:ext uri="{FF2B5EF4-FFF2-40B4-BE49-F238E27FC236}">
                <a16:creationId xmlns:a16="http://schemas.microsoft.com/office/drawing/2014/main" id="{14595135-42A6-48F6-A74E-7D6EB9200912}"/>
              </a:ext>
            </a:extLst>
          </p:cNvPr>
          <p:cNvCxnSpPr>
            <a:cxnSpLocks/>
          </p:cNvCxnSpPr>
          <p:nvPr/>
        </p:nvCxnSpPr>
        <p:spPr>
          <a:xfrm flipH="1" flipV="1">
            <a:off x="4174444" y="3288182"/>
            <a:ext cx="748066" cy="1926"/>
          </a:xfrm>
          <a:prstGeom prst="straightConnector1">
            <a:avLst/>
          </a:prstGeom>
          <a:ln w="76200">
            <a:headEnd type="none"/>
            <a:tailEnd type="triangle"/>
          </a:ln>
        </p:spPr>
        <p:style>
          <a:lnRef idx="2">
            <a:schemeClr val="accent2"/>
          </a:lnRef>
          <a:fillRef idx="0">
            <a:schemeClr val="accent2"/>
          </a:fillRef>
          <a:effectRef idx="1">
            <a:schemeClr val="accent2"/>
          </a:effectRef>
          <a:fontRef idx="minor">
            <a:schemeClr val="tx1"/>
          </a:fontRef>
        </p:style>
      </p:cxnSp>
      <p:sp>
        <p:nvSpPr>
          <p:cNvPr id="11" name="TextBox 10">
            <a:extLst>
              <a:ext uri="{FF2B5EF4-FFF2-40B4-BE49-F238E27FC236}">
                <a16:creationId xmlns:a16="http://schemas.microsoft.com/office/drawing/2014/main" id="{40A9B32F-4DA3-46C4-BF17-4B830039FE44}"/>
              </a:ext>
            </a:extLst>
          </p:cNvPr>
          <p:cNvSpPr txBox="1"/>
          <p:nvPr/>
        </p:nvSpPr>
        <p:spPr>
          <a:xfrm>
            <a:off x="4913818" y="3031301"/>
            <a:ext cx="6324213" cy="544765"/>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a:gradFill>
                  <a:gsLst>
                    <a:gs pos="2917">
                      <a:schemeClr val="tx1"/>
                    </a:gs>
                    <a:gs pos="30000">
                      <a:schemeClr val="tx1"/>
                    </a:gs>
                  </a:gsLst>
                  <a:lin ang="5400000" scaled="0"/>
                </a:gradFill>
                <a:latin typeface="Segoe UI Light"/>
                <a:cs typeface="Segoe UI Light"/>
              </a:rPr>
              <a:t>View key metrics for Power Apps.</a:t>
            </a:r>
            <a:endParaRPr lang="en-US">
              <a:latin typeface="Segoe UI Light"/>
              <a:cs typeface="Segoe UI Light"/>
            </a:endParaRPr>
          </a:p>
        </p:txBody>
      </p:sp>
      <p:cxnSp>
        <p:nvCxnSpPr>
          <p:cNvPr id="12" name="Straight Arrow Connector 11">
            <a:extLst>
              <a:ext uri="{FF2B5EF4-FFF2-40B4-BE49-F238E27FC236}">
                <a16:creationId xmlns:a16="http://schemas.microsoft.com/office/drawing/2014/main" id="{7DBD2455-361A-4F33-91E9-6D42A231591B}"/>
              </a:ext>
            </a:extLst>
          </p:cNvPr>
          <p:cNvCxnSpPr>
            <a:cxnSpLocks/>
          </p:cNvCxnSpPr>
          <p:nvPr/>
        </p:nvCxnSpPr>
        <p:spPr>
          <a:xfrm flipH="1" flipV="1">
            <a:off x="4165613" y="3676590"/>
            <a:ext cx="748066" cy="1926"/>
          </a:xfrm>
          <a:prstGeom prst="straightConnector1">
            <a:avLst/>
          </a:prstGeom>
          <a:ln w="76200">
            <a:headEnd type="none"/>
            <a:tailEnd type="triangle"/>
          </a:ln>
        </p:spPr>
        <p:style>
          <a:lnRef idx="2">
            <a:schemeClr val="accent2"/>
          </a:lnRef>
          <a:fillRef idx="0">
            <a:schemeClr val="accent2"/>
          </a:fillRef>
          <a:effectRef idx="1">
            <a:schemeClr val="accent2"/>
          </a:effectRef>
          <a:fontRef idx="minor">
            <a:schemeClr val="tx1"/>
          </a:fontRef>
        </p:style>
      </p:cxnSp>
      <p:sp>
        <p:nvSpPr>
          <p:cNvPr id="13" name="TextBox 12">
            <a:extLst>
              <a:ext uri="{FF2B5EF4-FFF2-40B4-BE49-F238E27FC236}">
                <a16:creationId xmlns:a16="http://schemas.microsoft.com/office/drawing/2014/main" id="{2B126222-A210-4A1E-9A5E-F21CF76814D6}"/>
              </a:ext>
            </a:extLst>
          </p:cNvPr>
          <p:cNvSpPr txBox="1"/>
          <p:nvPr/>
        </p:nvSpPr>
        <p:spPr>
          <a:xfrm>
            <a:off x="4916305" y="3452076"/>
            <a:ext cx="6324213" cy="544765"/>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a:latin typeface="Segoe UI Light"/>
                <a:cs typeface="Segoe UI Light"/>
              </a:rPr>
              <a:t>View and manage all Power Apps resources.</a:t>
            </a:r>
            <a:endParaRPr lang="en-US"/>
          </a:p>
        </p:txBody>
      </p:sp>
      <p:cxnSp>
        <p:nvCxnSpPr>
          <p:cNvPr id="14" name="Straight Arrow Connector 13">
            <a:extLst>
              <a:ext uri="{FF2B5EF4-FFF2-40B4-BE49-F238E27FC236}">
                <a16:creationId xmlns:a16="http://schemas.microsoft.com/office/drawing/2014/main" id="{2BE5649A-DFCC-4F4E-8093-1279AA2BC252}"/>
              </a:ext>
            </a:extLst>
          </p:cNvPr>
          <p:cNvCxnSpPr>
            <a:cxnSpLocks/>
          </p:cNvCxnSpPr>
          <p:nvPr/>
        </p:nvCxnSpPr>
        <p:spPr>
          <a:xfrm flipH="1" flipV="1">
            <a:off x="4202110" y="5340502"/>
            <a:ext cx="748066" cy="1926"/>
          </a:xfrm>
          <a:prstGeom prst="straightConnector1">
            <a:avLst/>
          </a:prstGeom>
          <a:ln w="76200">
            <a:headEnd type="none"/>
            <a:tailEnd type="triangle"/>
          </a:ln>
        </p:spPr>
        <p:style>
          <a:lnRef idx="2">
            <a:schemeClr val="accent2"/>
          </a:lnRef>
          <a:fillRef idx="0">
            <a:schemeClr val="accent2"/>
          </a:fillRef>
          <a:effectRef idx="1">
            <a:schemeClr val="accent2"/>
          </a:effectRef>
          <a:fontRef idx="minor">
            <a:schemeClr val="tx1"/>
          </a:fontRef>
        </p:style>
      </p:cxnSp>
      <p:sp>
        <p:nvSpPr>
          <p:cNvPr id="15" name="TextBox 14">
            <a:extLst>
              <a:ext uri="{FF2B5EF4-FFF2-40B4-BE49-F238E27FC236}">
                <a16:creationId xmlns:a16="http://schemas.microsoft.com/office/drawing/2014/main" id="{E7F010F8-2ADB-4E62-BECF-FB5BCB150C12}"/>
              </a:ext>
            </a:extLst>
          </p:cNvPr>
          <p:cNvSpPr txBox="1"/>
          <p:nvPr/>
        </p:nvSpPr>
        <p:spPr>
          <a:xfrm>
            <a:off x="4915257" y="5072201"/>
            <a:ext cx="6324213" cy="544765"/>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a:latin typeface="Segoe UI Light"/>
                <a:cs typeface="Segoe UI Light"/>
              </a:rPr>
              <a:t>Submit support request.</a:t>
            </a:r>
          </a:p>
        </p:txBody>
      </p:sp>
    </p:spTree>
    <p:extLst>
      <p:ext uri="{BB962C8B-B14F-4D97-AF65-F5344CB8AC3E}">
        <p14:creationId xmlns:p14="http://schemas.microsoft.com/office/powerpoint/2010/main" val="361200452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A4E84E-582B-45B1-9302-659A6D9E77DD}"/>
              </a:ext>
            </a:extLst>
          </p:cNvPr>
          <p:cNvPicPr>
            <a:picLocks noChangeAspect="1"/>
          </p:cNvPicPr>
          <p:nvPr/>
        </p:nvPicPr>
        <p:blipFill>
          <a:blip r:embed="rId3"/>
          <a:stretch>
            <a:fillRect/>
          </a:stretch>
        </p:blipFill>
        <p:spPr>
          <a:xfrm>
            <a:off x="427036" y="1092496"/>
            <a:ext cx="11833709" cy="4385965"/>
          </a:xfrm>
          <a:prstGeom prst="rect">
            <a:avLst/>
          </a:prstGeom>
        </p:spPr>
      </p:pic>
      <p:sp>
        <p:nvSpPr>
          <p:cNvPr id="4" name="Title 3">
            <a:extLst>
              <a:ext uri="{FF2B5EF4-FFF2-40B4-BE49-F238E27FC236}">
                <a16:creationId xmlns:a16="http://schemas.microsoft.com/office/drawing/2014/main" id="{71073A0A-3C23-47F8-B093-E6BFF8C7D470}"/>
              </a:ext>
            </a:extLst>
          </p:cNvPr>
          <p:cNvSpPr>
            <a:spLocks noGrp="1"/>
          </p:cNvSpPr>
          <p:nvPr>
            <p:ph type="title"/>
          </p:nvPr>
        </p:nvSpPr>
        <p:spPr/>
        <p:txBody>
          <a:bodyPr/>
          <a:lstStyle/>
          <a:p>
            <a:r>
              <a:rPr lang="en-US">
                <a:solidFill>
                  <a:srgbClr val="0078D7"/>
                </a:solidFill>
                <a:cs typeface="Segoe UI"/>
              </a:rPr>
              <a:t>Browsing apps – Maker Portal</a:t>
            </a:r>
            <a:br>
              <a:rPr lang="en-US"/>
            </a:br>
            <a:endParaRPr lang="en-US"/>
          </a:p>
        </p:txBody>
      </p:sp>
      <p:cxnSp>
        <p:nvCxnSpPr>
          <p:cNvPr id="8" name="Straight Arrow Connector 7">
            <a:extLst>
              <a:ext uri="{FF2B5EF4-FFF2-40B4-BE49-F238E27FC236}">
                <a16:creationId xmlns:a16="http://schemas.microsoft.com/office/drawing/2014/main" id="{D1CE16AF-57FB-49D0-B64C-37853D7D101C}"/>
              </a:ext>
            </a:extLst>
          </p:cNvPr>
          <p:cNvCxnSpPr>
            <a:cxnSpLocks/>
          </p:cNvCxnSpPr>
          <p:nvPr/>
        </p:nvCxnSpPr>
        <p:spPr>
          <a:xfrm flipV="1">
            <a:off x="9113837" y="1820862"/>
            <a:ext cx="762000" cy="228600"/>
          </a:xfrm>
          <a:prstGeom prst="straightConnector1">
            <a:avLst/>
          </a:prstGeom>
          <a:ln w="76200">
            <a:headEnd type="none"/>
            <a:tailEnd type="triangle"/>
          </a:ln>
        </p:spPr>
        <p:style>
          <a:lnRef idx="2">
            <a:schemeClr val="accent2"/>
          </a:lnRef>
          <a:fillRef idx="0">
            <a:schemeClr val="accent2"/>
          </a:fillRef>
          <a:effectRef idx="1">
            <a:schemeClr val="accent2"/>
          </a:effectRef>
          <a:fontRef idx="minor">
            <a:schemeClr val="tx1"/>
          </a:fontRef>
        </p:style>
      </p:cxnSp>
      <p:cxnSp>
        <p:nvCxnSpPr>
          <p:cNvPr id="12" name="Straight Arrow Connector 11">
            <a:extLst>
              <a:ext uri="{FF2B5EF4-FFF2-40B4-BE49-F238E27FC236}">
                <a16:creationId xmlns:a16="http://schemas.microsoft.com/office/drawing/2014/main" id="{76C984D2-C175-4B46-8E07-971FBBC6E596}"/>
              </a:ext>
            </a:extLst>
          </p:cNvPr>
          <p:cNvCxnSpPr>
            <a:cxnSpLocks/>
          </p:cNvCxnSpPr>
          <p:nvPr/>
        </p:nvCxnSpPr>
        <p:spPr>
          <a:xfrm flipH="1" flipV="1">
            <a:off x="5303837" y="2354262"/>
            <a:ext cx="609600" cy="304800"/>
          </a:xfrm>
          <a:prstGeom prst="straightConnector1">
            <a:avLst/>
          </a:prstGeom>
          <a:ln w="76200">
            <a:headEnd type="none"/>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400932733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F67CA1-9423-4348-8974-B23A83C79E70}"/>
              </a:ext>
            </a:extLst>
          </p:cNvPr>
          <p:cNvSpPr>
            <a:spLocks noGrp="1"/>
          </p:cNvSpPr>
          <p:nvPr>
            <p:ph type="title"/>
          </p:nvPr>
        </p:nvSpPr>
        <p:spPr/>
        <p:txBody>
          <a:bodyPr/>
          <a:lstStyle/>
          <a:p>
            <a:r>
              <a:rPr lang="en-US">
                <a:cs typeface="Segoe UI"/>
              </a:rPr>
              <a:t>Regions in PowerApps</a:t>
            </a:r>
            <a:endParaRPr lang="en-US"/>
          </a:p>
        </p:txBody>
      </p:sp>
      <p:sp>
        <p:nvSpPr>
          <p:cNvPr id="3" name="Text Placeholder 2">
            <a:extLst>
              <a:ext uri="{FF2B5EF4-FFF2-40B4-BE49-F238E27FC236}">
                <a16:creationId xmlns:a16="http://schemas.microsoft.com/office/drawing/2014/main" id="{489699A7-D307-4415-B9A0-6B0128F6F7D8}"/>
              </a:ext>
            </a:extLst>
          </p:cNvPr>
          <p:cNvSpPr>
            <a:spLocks noGrp="1"/>
          </p:cNvSpPr>
          <p:nvPr>
            <p:ph type="body" sz="quarter" idx="10"/>
          </p:nvPr>
        </p:nvSpPr>
        <p:spPr>
          <a:xfrm>
            <a:off x="274638" y="1212850"/>
            <a:ext cx="11887200" cy="923330"/>
          </a:xfrm>
        </p:spPr>
        <p:txBody>
          <a:bodyPr vert="horz" wrap="square" lIns="146304" tIns="91440" rIns="146304" bIns="91440" rtlCol="0" anchor="t">
            <a:spAutoFit/>
          </a:bodyPr>
          <a:lstStyle/>
          <a:p>
            <a:r>
              <a:rPr lang="en-US" sz="2400">
                <a:ea typeface="+mj-lt"/>
                <a:cs typeface="+mj-lt"/>
              </a:rPr>
              <a:t>You can create an environment in a different region than where your tenant resides. </a:t>
            </a:r>
          </a:p>
          <a:p>
            <a:r>
              <a:rPr lang="en-US" sz="2400">
                <a:ea typeface="+mj-lt"/>
                <a:cs typeface="+mj-lt"/>
              </a:rPr>
              <a:t>Local environments can provide quicker data access for users in that region.</a:t>
            </a:r>
            <a:endParaRPr lang="en-US" sz="2400">
              <a:cs typeface="Segoe UI Light"/>
            </a:endParaRPr>
          </a:p>
        </p:txBody>
      </p:sp>
      <p:pic>
        <p:nvPicPr>
          <p:cNvPr id="4" name="Picture 4" descr="Graphical user interface, application&#10;&#10;Description automatically generated">
            <a:extLst>
              <a:ext uri="{FF2B5EF4-FFF2-40B4-BE49-F238E27FC236}">
                <a16:creationId xmlns:a16="http://schemas.microsoft.com/office/drawing/2014/main" id="{11A5DC22-6AFA-4CCB-A2B1-82F713A9049C}"/>
              </a:ext>
            </a:extLst>
          </p:cNvPr>
          <p:cNvPicPr>
            <a:picLocks noChangeAspect="1"/>
          </p:cNvPicPr>
          <p:nvPr/>
        </p:nvPicPr>
        <p:blipFill>
          <a:blip r:embed="rId3"/>
          <a:stretch>
            <a:fillRect/>
          </a:stretch>
        </p:blipFill>
        <p:spPr>
          <a:xfrm>
            <a:off x="5744789" y="2945637"/>
            <a:ext cx="5797964" cy="2444416"/>
          </a:xfrm>
          <a:prstGeom prst="rect">
            <a:avLst/>
          </a:prstGeom>
        </p:spPr>
      </p:pic>
      <p:pic>
        <p:nvPicPr>
          <p:cNvPr id="5" name="Picture 5" descr="Graphical user interface, text, application, email&#10;&#10;Description automatically generated">
            <a:extLst>
              <a:ext uri="{FF2B5EF4-FFF2-40B4-BE49-F238E27FC236}">
                <a16:creationId xmlns:a16="http://schemas.microsoft.com/office/drawing/2014/main" id="{16BB2590-C649-4145-A7D5-A24CB103D270}"/>
              </a:ext>
            </a:extLst>
          </p:cNvPr>
          <p:cNvPicPr>
            <a:picLocks noChangeAspect="1"/>
          </p:cNvPicPr>
          <p:nvPr/>
        </p:nvPicPr>
        <p:blipFill>
          <a:blip r:embed="rId4"/>
          <a:stretch>
            <a:fillRect/>
          </a:stretch>
        </p:blipFill>
        <p:spPr>
          <a:xfrm>
            <a:off x="1851036" y="2509352"/>
            <a:ext cx="1680904" cy="4114800"/>
          </a:xfrm>
          <a:prstGeom prst="rect">
            <a:avLst/>
          </a:prstGeom>
        </p:spPr>
      </p:pic>
    </p:spTree>
    <p:extLst>
      <p:ext uri="{BB962C8B-B14F-4D97-AF65-F5344CB8AC3E}">
        <p14:creationId xmlns:p14="http://schemas.microsoft.com/office/powerpoint/2010/main" val="45359008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AF655A-1427-4BCE-B897-E8441C4762B3}"/>
              </a:ext>
            </a:extLst>
          </p:cNvPr>
          <p:cNvSpPr>
            <a:spLocks noGrp="1"/>
          </p:cNvSpPr>
          <p:nvPr>
            <p:ph type="title"/>
          </p:nvPr>
        </p:nvSpPr>
        <p:spPr/>
        <p:txBody>
          <a:bodyPr/>
          <a:lstStyle/>
          <a:p>
            <a:r>
              <a:rPr lang="en-US">
                <a:cs typeface="Segoe UI"/>
              </a:rPr>
              <a:t>System requirements</a:t>
            </a:r>
            <a:endParaRPr lang="en-US"/>
          </a:p>
        </p:txBody>
      </p:sp>
      <p:sp>
        <p:nvSpPr>
          <p:cNvPr id="3" name="Text Placeholder 2">
            <a:extLst>
              <a:ext uri="{FF2B5EF4-FFF2-40B4-BE49-F238E27FC236}">
                <a16:creationId xmlns:a16="http://schemas.microsoft.com/office/drawing/2014/main" id="{C9915486-ED44-4A3D-AC3D-8F716A317279}"/>
              </a:ext>
            </a:extLst>
          </p:cNvPr>
          <p:cNvSpPr>
            <a:spLocks noGrp="1"/>
          </p:cNvSpPr>
          <p:nvPr>
            <p:ph type="body" sz="quarter" idx="10"/>
          </p:nvPr>
        </p:nvSpPr>
        <p:spPr>
          <a:xfrm>
            <a:off x="274638" y="1212850"/>
            <a:ext cx="10448968" cy="3674852"/>
          </a:xfrm>
        </p:spPr>
        <p:txBody>
          <a:bodyPr vert="horz" wrap="square" lIns="146304" tIns="91440" rIns="146304" bIns="91440" rtlCol="0" anchor="t">
            <a:spAutoFit/>
          </a:bodyPr>
          <a:lstStyle/>
          <a:p>
            <a:r>
              <a:rPr lang="en-US" sz="2100">
                <a:ea typeface="+mj-lt"/>
                <a:cs typeface="+mj-lt"/>
              </a:rPr>
              <a:t>Supported platforms for running canvas apps using the Power Apps mobile app</a:t>
            </a:r>
          </a:p>
          <a:p>
            <a:endParaRPr lang="en-US" sz="2100">
              <a:ea typeface="+mj-lt"/>
              <a:cs typeface="+mj-lt"/>
            </a:endParaRPr>
          </a:p>
          <a:p>
            <a:endParaRPr lang="en-US" sz="2100">
              <a:ea typeface="+mj-lt"/>
              <a:cs typeface="+mj-lt"/>
            </a:endParaRPr>
          </a:p>
          <a:p>
            <a:endParaRPr lang="en-US" sz="2100">
              <a:ea typeface="+mj-lt"/>
              <a:cs typeface="+mj-lt"/>
            </a:endParaRPr>
          </a:p>
          <a:p>
            <a:endParaRPr lang="en-US" sz="2100">
              <a:ea typeface="+mj-lt"/>
              <a:cs typeface="+mj-lt"/>
            </a:endParaRPr>
          </a:p>
          <a:p>
            <a:endParaRPr lang="en-US" sz="2100">
              <a:ea typeface="+mj-lt"/>
              <a:cs typeface="+mj-lt"/>
            </a:endParaRPr>
          </a:p>
          <a:p>
            <a:endParaRPr lang="en-US" sz="2100">
              <a:ea typeface="+mj-lt"/>
              <a:cs typeface="+mj-lt"/>
            </a:endParaRPr>
          </a:p>
          <a:p>
            <a:r>
              <a:rPr lang="en-US" sz="2100">
                <a:ea typeface="+mj-lt"/>
                <a:cs typeface="+mj-lt"/>
              </a:rPr>
              <a:t>Supported browsers for running canvas apps</a:t>
            </a:r>
          </a:p>
          <a:p>
            <a:pPr marL="0" indent="0">
              <a:buNone/>
            </a:pPr>
            <a:endParaRPr lang="en-US" sz="2100">
              <a:ea typeface="+mj-lt"/>
              <a:cs typeface="+mj-lt"/>
            </a:endParaRPr>
          </a:p>
          <a:p>
            <a:pPr marL="0" indent="0">
              <a:buNone/>
            </a:pPr>
            <a:endParaRPr lang="en-US" sz="2100">
              <a:cs typeface="Segoe UI Light"/>
            </a:endParaRPr>
          </a:p>
        </p:txBody>
      </p:sp>
      <p:graphicFrame>
        <p:nvGraphicFramePr>
          <p:cNvPr id="5" name="Table 4">
            <a:extLst>
              <a:ext uri="{FF2B5EF4-FFF2-40B4-BE49-F238E27FC236}">
                <a16:creationId xmlns:a16="http://schemas.microsoft.com/office/drawing/2014/main" id="{D9FC8785-6303-40DA-8D42-AC55CA543A5B}"/>
              </a:ext>
            </a:extLst>
          </p:cNvPr>
          <p:cNvGraphicFramePr>
            <a:graphicFrameLocks noGrp="1"/>
          </p:cNvGraphicFramePr>
          <p:nvPr>
            <p:extLst>
              <p:ext uri="{D42A27DB-BD31-4B8C-83A1-F6EECF244321}">
                <p14:modId xmlns:p14="http://schemas.microsoft.com/office/powerpoint/2010/main" val="1787739493"/>
              </p:ext>
            </p:extLst>
          </p:nvPr>
        </p:nvGraphicFramePr>
        <p:xfrm>
          <a:off x="786693" y="1717227"/>
          <a:ext cx="5290296" cy="1645920"/>
        </p:xfrm>
        <a:graphic>
          <a:graphicData uri="http://schemas.openxmlformats.org/drawingml/2006/table">
            <a:tbl>
              <a:tblPr firstRow="1" bandRow="1">
                <a:tableStyleId>{5C22544A-7EE6-4342-B048-85BDC9FD1C3A}</a:tableStyleId>
              </a:tblPr>
              <a:tblGrid>
                <a:gridCol w="2645148">
                  <a:extLst>
                    <a:ext uri="{9D8B030D-6E8A-4147-A177-3AD203B41FA5}">
                      <a16:colId xmlns:a16="http://schemas.microsoft.com/office/drawing/2014/main" val="1540600842"/>
                    </a:ext>
                  </a:extLst>
                </a:gridCol>
                <a:gridCol w="2645148">
                  <a:extLst>
                    <a:ext uri="{9D8B030D-6E8A-4147-A177-3AD203B41FA5}">
                      <a16:colId xmlns:a16="http://schemas.microsoft.com/office/drawing/2014/main" val="163063888"/>
                    </a:ext>
                  </a:extLst>
                </a:gridCol>
              </a:tblGrid>
              <a:tr h="157905">
                <a:tc>
                  <a:txBody>
                    <a:bodyPr/>
                    <a:lstStyle/>
                    <a:p>
                      <a:pPr algn="l" fontAlgn="t"/>
                      <a:r>
                        <a:rPr lang="en-US" sz="1400">
                          <a:effectLst/>
                        </a:rPr>
                        <a:t>Minimum required</a:t>
                      </a:r>
                    </a:p>
                  </a:txBody>
                  <a:tcPr/>
                </a:tc>
                <a:tc>
                  <a:txBody>
                    <a:bodyPr/>
                    <a:lstStyle/>
                    <a:p>
                      <a:pPr algn="l" fontAlgn="t"/>
                      <a:r>
                        <a:rPr lang="en-US" sz="1400">
                          <a:effectLst/>
                        </a:rPr>
                        <a:t>Recommended</a:t>
                      </a:r>
                    </a:p>
                  </a:txBody>
                  <a:tcPr/>
                </a:tc>
                <a:extLst>
                  <a:ext uri="{0D108BD9-81ED-4DB2-BD59-A6C34878D82A}">
                    <a16:rowId xmlns:a16="http://schemas.microsoft.com/office/drawing/2014/main" val="1541784220"/>
                  </a:ext>
                </a:extLst>
              </a:tr>
              <a:tr h="157905">
                <a:tc>
                  <a:txBody>
                    <a:bodyPr/>
                    <a:lstStyle/>
                    <a:p>
                      <a:pPr algn="l" fontAlgn="t"/>
                      <a:r>
                        <a:rPr lang="en-US" sz="1400">
                          <a:effectLst/>
                        </a:rPr>
                        <a:t>iOS 13 or later</a:t>
                      </a:r>
                    </a:p>
                  </a:txBody>
                  <a:tcPr/>
                </a:tc>
                <a:tc>
                  <a:txBody>
                    <a:bodyPr/>
                    <a:lstStyle/>
                    <a:p>
                      <a:pPr algn="l" fontAlgn="t"/>
                      <a:r>
                        <a:rPr lang="en-US" sz="1400">
                          <a:effectLst/>
                        </a:rPr>
                        <a:t>iOS 13 or later</a:t>
                      </a:r>
                    </a:p>
                  </a:txBody>
                  <a:tcPr/>
                </a:tc>
                <a:extLst>
                  <a:ext uri="{0D108BD9-81ED-4DB2-BD59-A6C34878D82A}">
                    <a16:rowId xmlns:a16="http://schemas.microsoft.com/office/drawing/2014/main" val="1221862252"/>
                  </a:ext>
                </a:extLst>
              </a:tr>
              <a:tr h="157905">
                <a:tc>
                  <a:txBody>
                    <a:bodyPr/>
                    <a:lstStyle/>
                    <a:p>
                      <a:pPr algn="l" fontAlgn="t"/>
                      <a:r>
                        <a:rPr lang="en-US" sz="1400">
                          <a:effectLst/>
                        </a:rPr>
                        <a:t>Android 7 or later</a:t>
                      </a:r>
                    </a:p>
                  </a:txBody>
                  <a:tcPr/>
                </a:tc>
                <a:tc>
                  <a:txBody>
                    <a:bodyPr/>
                    <a:lstStyle/>
                    <a:p>
                      <a:pPr algn="l" fontAlgn="t"/>
                      <a:r>
                        <a:rPr lang="en-US" sz="1400">
                          <a:effectLst/>
                        </a:rPr>
                        <a:t>Android 7 or later</a:t>
                      </a:r>
                    </a:p>
                  </a:txBody>
                  <a:tcPr/>
                </a:tc>
                <a:extLst>
                  <a:ext uri="{0D108BD9-81ED-4DB2-BD59-A6C34878D82A}">
                    <a16:rowId xmlns:a16="http://schemas.microsoft.com/office/drawing/2014/main" val="4042683855"/>
                  </a:ext>
                </a:extLst>
              </a:tr>
              <a:tr h="267960">
                <a:tc>
                  <a:txBody>
                    <a:bodyPr/>
                    <a:lstStyle/>
                    <a:p>
                      <a:pPr algn="l" fontAlgn="t"/>
                      <a:r>
                        <a:rPr lang="en-US" sz="1400">
                          <a:effectLst/>
                        </a:rPr>
                        <a:t>Windows 8.1 or later (PC only)</a:t>
                      </a:r>
                    </a:p>
                  </a:txBody>
                  <a:tcPr/>
                </a:tc>
                <a:tc>
                  <a:txBody>
                    <a:bodyPr/>
                    <a:lstStyle/>
                    <a:p>
                      <a:pPr algn="l" fontAlgn="t"/>
                      <a:r>
                        <a:rPr lang="en-US" sz="1400">
                          <a:effectLst/>
                        </a:rPr>
                        <a:t>Windows 10 Fall Creators Update with at least 8 GB of RAM)</a:t>
                      </a:r>
                    </a:p>
                  </a:txBody>
                  <a:tcPr/>
                </a:tc>
                <a:extLst>
                  <a:ext uri="{0D108BD9-81ED-4DB2-BD59-A6C34878D82A}">
                    <a16:rowId xmlns:a16="http://schemas.microsoft.com/office/drawing/2014/main" val="3019922657"/>
                  </a:ext>
                </a:extLst>
              </a:tr>
            </a:tbl>
          </a:graphicData>
        </a:graphic>
      </p:graphicFrame>
      <p:graphicFrame>
        <p:nvGraphicFramePr>
          <p:cNvPr id="7" name="Table 6">
            <a:extLst>
              <a:ext uri="{FF2B5EF4-FFF2-40B4-BE49-F238E27FC236}">
                <a16:creationId xmlns:a16="http://schemas.microsoft.com/office/drawing/2014/main" id="{2BD247CA-E19A-41CB-8AAD-69B2D13302A8}"/>
              </a:ext>
            </a:extLst>
          </p:cNvPr>
          <p:cNvGraphicFramePr>
            <a:graphicFrameLocks noGrp="1"/>
          </p:cNvGraphicFramePr>
          <p:nvPr>
            <p:extLst>
              <p:ext uri="{D42A27DB-BD31-4B8C-83A1-F6EECF244321}">
                <p14:modId xmlns:p14="http://schemas.microsoft.com/office/powerpoint/2010/main" val="2813338763"/>
              </p:ext>
            </p:extLst>
          </p:nvPr>
        </p:nvGraphicFramePr>
        <p:xfrm>
          <a:off x="761440" y="4183413"/>
          <a:ext cx="5290616" cy="2016754"/>
        </p:xfrm>
        <a:graphic>
          <a:graphicData uri="http://schemas.openxmlformats.org/drawingml/2006/table">
            <a:tbl>
              <a:tblPr firstRow="1" bandRow="1">
                <a:tableStyleId>{5C22544A-7EE6-4342-B048-85BDC9FD1C3A}</a:tableStyleId>
              </a:tblPr>
              <a:tblGrid>
                <a:gridCol w="2645308">
                  <a:extLst>
                    <a:ext uri="{9D8B030D-6E8A-4147-A177-3AD203B41FA5}">
                      <a16:colId xmlns:a16="http://schemas.microsoft.com/office/drawing/2014/main" val="2923591543"/>
                    </a:ext>
                  </a:extLst>
                </a:gridCol>
                <a:gridCol w="2645308">
                  <a:extLst>
                    <a:ext uri="{9D8B030D-6E8A-4147-A177-3AD203B41FA5}">
                      <a16:colId xmlns:a16="http://schemas.microsoft.com/office/drawing/2014/main" val="3567403408"/>
                    </a:ext>
                  </a:extLst>
                </a:gridCol>
              </a:tblGrid>
              <a:tr h="292002">
                <a:tc>
                  <a:txBody>
                    <a:bodyPr/>
                    <a:lstStyle/>
                    <a:p>
                      <a:pPr algn="l" fontAlgn="t"/>
                      <a:r>
                        <a:rPr lang="en-US" sz="1400">
                          <a:effectLst/>
                        </a:rPr>
                        <a:t>Browser</a:t>
                      </a:r>
                    </a:p>
                  </a:txBody>
                  <a:tcPr/>
                </a:tc>
                <a:tc>
                  <a:txBody>
                    <a:bodyPr/>
                    <a:lstStyle/>
                    <a:p>
                      <a:pPr algn="l" fontAlgn="t"/>
                      <a:r>
                        <a:rPr lang="en-US" sz="1400">
                          <a:effectLst/>
                        </a:rPr>
                        <a:t>Supported Versions</a:t>
                      </a:r>
                    </a:p>
                  </a:txBody>
                  <a:tcPr/>
                </a:tc>
                <a:extLst>
                  <a:ext uri="{0D108BD9-81ED-4DB2-BD59-A6C34878D82A}">
                    <a16:rowId xmlns:a16="http://schemas.microsoft.com/office/drawing/2014/main" val="3043973223"/>
                  </a:ext>
                </a:extLst>
              </a:tr>
              <a:tr h="292002">
                <a:tc>
                  <a:txBody>
                    <a:bodyPr/>
                    <a:lstStyle/>
                    <a:p>
                      <a:pPr algn="l" fontAlgn="t"/>
                      <a:r>
                        <a:rPr lang="en-US" sz="1400">
                          <a:effectLst/>
                        </a:rPr>
                        <a:t>Google Chrome</a:t>
                      </a:r>
                    </a:p>
                  </a:txBody>
                  <a:tcPr/>
                </a:tc>
                <a:tc>
                  <a:txBody>
                    <a:bodyPr/>
                    <a:lstStyle/>
                    <a:p>
                      <a:pPr algn="l" fontAlgn="t"/>
                      <a:r>
                        <a:rPr lang="en-US" sz="1400">
                          <a:effectLst/>
                        </a:rPr>
                        <a:t>Latest three major releases</a:t>
                      </a:r>
                    </a:p>
                  </a:txBody>
                  <a:tcPr/>
                </a:tc>
                <a:extLst>
                  <a:ext uri="{0D108BD9-81ED-4DB2-BD59-A6C34878D82A}">
                    <a16:rowId xmlns:a16="http://schemas.microsoft.com/office/drawing/2014/main" val="2311783892"/>
                  </a:ext>
                </a:extLst>
              </a:tr>
              <a:tr h="292002">
                <a:tc>
                  <a:txBody>
                    <a:bodyPr/>
                    <a:lstStyle/>
                    <a:p>
                      <a:pPr algn="l" fontAlgn="t"/>
                      <a:r>
                        <a:rPr lang="en-US" sz="1400">
                          <a:effectLst/>
                        </a:rPr>
                        <a:t>Microsoft Edge</a:t>
                      </a:r>
                    </a:p>
                  </a:txBody>
                  <a:tcPr/>
                </a:tc>
                <a:tc>
                  <a:txBody>
                    <a:bodyPr/>
                    <a:lstStyle/>
                    <a:p>
                      <a:pPr algn="l" fontAlgn="t"/>
                      <a:r>
                        <a:rPr lang="en-US" sz="1400">
                          <a:effectLst/>
                        </a:rPr>
                        <a:t>Latest three major releases</a:t>
                      </a:r>
                    </a:p>
                  </a:txBody>
                  <a:tcPr/>
                </a:tc>
                <a:extLst>
                  <a:ext uri="{0D108BD9-81ED-4DB2-BD59-A6C34878D82A}">
                    <a16:rowId xmlns:a16="http://schemas.microsoft.com/office/drawing/2014/main" val="606031548"/>
                  </a:ext>
                </a:extLst>
              </a:tr>
              <a:tr h="492754">
                <a:tc>
                  <a:txBody>
                    <a:bodyPr/>
                    <a:lstStyle/>
                    <a:p>
                      <a:pPr algn="l" fontAlgn="t"/>
                      <a:r>
                        <a:rPr lang="en-US" sz="1400">
                          <a:effectLst/>
                        </a:rPr>
                        <a:t>*Microsoft Internet Explorer</a:t>
                      </a:r>
                    </a:p>
                  </a:txBody>
                  <a:tcPr/>
                </a:tc>
                <a:tc>
                  <a:txBody>
                    <a:bodyPr/>
                    <a:lstStyle/>
                    <a:p>
                      <a:pPr algn="l" fontAlgn="t"/>
                      <a:r>
                        <a:rPr lang="en-US" sz="1400">
                          <a:effectLst/>
                        </a:rPr>
                        <a:t>11 (with Compatibility View off)</a:t>
                      </a:r>
                    </a:p>
                  </a:txBody>
                  <a:tcPr/>
                </a:tc>
                <a:extLst>
                  <a:ext uri="{0D108BD9-81ED-4DB2-BD59-A6C34878D82A}">
                    <a16:rowId xmlns:a16="http://schemas.microsoft.com/office/drawing/2014/main" val="3996482943"/>
                  </a:ext>
                </a:extLst>
              </a:tr>
              <a:tr h="292002">
                <a:tc>
                  <a:txBody>
                    <a:bodyPr/>
                    <a:lstStyle/>
                    <a:p>
                      <a:pPr algn="l" fontAlgn="t"/>
                      <a:r>
                        <a:rPr lang="en-US" sz="1400">
                          <a:effectLst/>
                        </a:rPr>
                        <a:t>Mozilla Firefox (latest version)</a:t>
                      </a:r>
                    </a:p>
                  </a:txBody>
                  <a:tcPr/>
                </a:tc>
                <a:tc>
                  <a:txBody>
                    <a:bodyPr/>
                    <a:lstStyle/>
                    <a:p>
                      <a:pPr algn="l" fontAlgn="t"/>
                      <a:r>
                        <a:rPr lang="en-US" sz="1400">
                          <a:effectLst/>
                        </a:rPr>
                        <a:t>Latest three major releases</a:t>
                      </a:r>
                    </a:p>
                  </a:txBody>
                  <a:tcPr/>
                </a:tc>
                <a:extLst>
                  <a:ext uri="{0D108BD9-81ED-4DB2-BD59-A6C34878D82A}">
                    <a16:rowId xmlns:a16="http://schemas.microsoft.com/office/drawing/2014/main" val="2037874545"/>
                  </a:ext>
                </a:extLst>
              </a:tr>
              <a:tr h="292002">
                <a:tc>
                  <a:txBody>
                    <a:bodyPr/>
                    <a:lstStyle/>
                    <a:p>
                      <a:pPr algn="l" fontAlgn="t"/>
                      <a:r>
                        <a:rPr lang="en-US" sz="1400">
                          <a:effectLst/>
                        </a:rPr>
                        <a:t>Apple Safari</a:t>
                      </a:r>
                    </a:p>
                  </a:txBody>
                  <a:tcPr/>
                </a:tc>
                <a:tc>
                  <a:txBody>
                    <a:bodyPr/>
                    <a:lstStyle/>
                    <a:p>
                      <a:pPr algn="l" fontAlgn="t"/>
                      <a:r>
                        <a:rPr lang="en-US" sz="1400">
                          <a:effectLst/>
                        </a:rPr>
                        <a:t>13 and later</a:t>
                      </a:r>
                    </a:p>
                  </a:txBody>
                  <a:tcPr/>
                </a:tc>
                <a:extLst>
                  <a:ext uri="{0D108BD9-81ED-4DB2-BD59-A6C34878D82A}">
                    <a16:rowId xmlns:a16="http://schemas.microsoft.com/office/drawing/2014/main" val="3248085614"/>
                  </a:ext>
                </a:extLst>
              </a:tr>
            </a:tbl>
          </a:graphicData>
        </a:graphic>
      </p:graphicFrame>
      <p:sp>
        <p:nvSpPr>
          <p:cNvPr id="8" name="TextBox 7">
            <a:extLst>
              <a:ext uri="{FF2B5EF4-FFF2-40B4-BE49-F238E27FC236}">
                <a16:creationId xmlns:a16="http://schemas.microsoft.com/office/drawing/2014/main" id="{F22C0FF4-DF7C-4C5B-8A35-A079AF9F010C}"/>
              </a:ext>
            </a:extLst>
          </p:cNvPr>
          <p:cNvSpPr txBox="1"/>
          <p:nvPr/>
        </p:nvSpPr>
        <p:spPr>
          <a:xfrm>
            <a:off x="553408" y="6312891"/>
            <a:ext cx="7396302" cy="683264"/>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sz="1400">
                <a:gradFill>
                  <a:gsLst>
                    <a:gs pos="1250">
                      <a:schemeClr val="tx1"/>
                    </a:gs>
                    <a:gs pos="100000">
                      <a:schemeClr val="tx1"/>
                    </a:gs>
                  </a:gsLst>
                  <a:lin ang="5400000" scaled="0"/>
                </a:gradFill>
                <a:latin typeface="+mj-lt"/>
                <a:ea typeface="+mj-lt"/>
                <a:cs typeface="+mj-lt"/>
              </a:rPr>
              <a:t>*Microsoft Internet Explorer 11 support for Power Apps is deprecated. We recommend that you use Microsoft Edge. </a:t>
            </a:r>
          </a:p>
        </p:txBody>
      </p:sp>
    </p:spTree>
    <p:extLst>
      <p:ext uri="{BB962C8B-B14F-4D97-AF65-F5344CB8AC3E}">
        <p14:creationId xmlns:p14="http://schemas.microsoft.com/office/powerpoint/2010/main" val="104802997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AF655A-1427-4BCE-B897-E8441C4762B3}"/>
              </a:ext>
            </a:extLst>
          </p:cNvPr>
          <p:cNvSpPr>
            <a:spLocks noGrp="1"/>
          </p:cNvSpPr>
          <p:nvPr>
            <p:ph type="title"/>
          </p:nvPr>
        </p:nvSpPr>
        <p:spPr/>
        <p:txBody>
          <a:bodyPr/>
          <a:lstStyle/>
          <a:p>
            <a:r>
              <a:rPr lang="en-US">
                <a:cs typeface="Segoe UI"/>
              </a:rPr>
              <a:t>Request Limits</a:t>
            </a:r>
            <a:endParaRPr lang="en-US"/>
          </a:p>
        </p:txBody>
      </p:sp>
      <p:sp>
        <p:nvSpPr>
          <p:cNvPr id="3" name="Text Placeholder 2">
            <a:extLst>
              <a:ext uri="{FF2B5EF4-FFF2-40B4-BE49-F238E27FC236}">
                <a16:creationId xmlns:a16="http://schemas.microsoft.com/office/drawing/2014/main" id="{C9915486-ED44-4A3D-AC3D-8F716A317279}"/>
              </a:ext>
            </a:extLst>
          </p:cNvPr>
          <p:cNvSpPr>
            <a:spLocks noGrp="1"/>
          </p:cNvSpPr>
          <p:nvPr>
            <p:ph type="body" sz="quarter" idx="10"/>
          </p:nvPr>
        </p:nvSpPr>
        <p:spPr>
          <a:xfrm>
            <a:off x="274638" y="1212850"/>
            <a:ext cx="11887200" cy="1255728"/>
          </a:xfrm>
        </p:spPr>
        <p:txBody>
          <a:bodyPr vert="horz" wrap="square" lIns="146304" tIns="91440" rIns="146304" bIns="91440" rtlCol="0" anchor="t">
            <a:spAutoFit/>
          </a:bodyPr>
          <a:lstStyle/>
          <a:p>
            <a:r>
              <a:rPr lang="en-US" sz="2400">
                <a:ea typeface="+mj-lt"/>
                <a:cs typeface="+mj-lt"/>
              </a:rPr>
              <a:t>These limits apply to each single outgoing request:</a:t>
            </a:r>
          </a:p>
          <a:p>
            <a:pPr marL="0" indent="0">
              <a:buNone/>
            </a:pPr>
            <a:br>
              <a:rPr lang="en-US" sz="2400">
                <a:ea typeface="+mj-lt"/>
                <a:cs typeface="+mj-lt"/>
              </a:rPr>
            </a:br>
            <a:endParaRPr lang="en-US" sz="2400">
              <a:ea typeface="+mj-lt"/>
              <a:cs typeface="+mj-lt"/>
            </a:endParaRPr>
          </a:p>
        </p:txBody>
      </p:sp>
      <p:graphicFrame>
        <p:nvGraphicFramePr>
          <p:cNvPr id="10" name="Table 9">
            <a:extLst>
              <a:ext uri="{FF2B5EF4-FFF2-40B4-BE49-F238E27FC236}">
                <a16:creationId xmlns:a16="http://schemas.microsoft.com/office/drawing/2014/main" id="{5A3A12A4-DB4C-4D3C-A513-1CB5E258D8F1}"/>
              </a:ext>
            </a:extLst>
          </p:cNvPr>
          <p:cNvGraphicFramePr>
            <a:graphicFrameLocks noGrp="1"/>
          </p:cNvGraphicFramePr>
          <p:nvPr>
            <p:extLst>
              <p:ext uri="{D42A27DB-BD31-4B8C-83A1-F6EECF244321}">
                <p14:modId xmlns:p14="http://schemas.microsoft.com/office/powerpoint/2010/main" val="3846830450"/>
              </p:ext>
            </p:extLst>
          </p:nvPr>
        </p:nvGraphicFramePr>
        <p:xfrm>
          <a:off x="1857652" y="1980895"/>
          <a:ext cx="8702382" cy="1097280"/>
        </p:xfrm>
        <a:graphic>
          <a:graphicData uri="http://schemas.openxmlformats.org/drawingml/2006/table">
            <a:tbl>
              <a:tblPr firstRow="1" bandRow="1">
                <a:tableStyleId>{5C22544A-7EE6-4342-B048-85BDC9FD1C3A}</a:tableStyleId>
              </a:tblPr>
              <a:tblGrid>
                <a:gridCol w="4351191">
                  <a:extLst>
                    <a:ext uri="{9D8B030D-6E8A-4147-A177-3AD203B41FA5}">
                      <a16:colId xmlns:a16="http://schemas.microsoft.com/office/drawing/2014/main" val="3821718607"/>
                    </a:ext>
                  </a:extLst>
                </a:gridCol>
                <a:gridCol w="4351191">
                  <a:extLst>
                    <a:ext uri="{9D8B030D-6E8A-4147-A177-3AD203B41FA5}">
                      <a16:colId xmlns:a16="http://schemas.microsoft.com/office/drawing/2014/main" val="1036227980"/>
                    </a:ext>
                  </a:extLst>
                </a:gridCol>
              </a:tblGrid>
              <a:tr h="0">
                <a:tc>
                  <a:txBody>
                    <a:bodyPr/>
                    <a:lstStyle/>
                    <a:p>
                      <a:pPr algn="l" fontAlgn="t"/>
                      <a:r>
                        <a:rPr lang="en-US">
                          <a:effectLst/>
                        </a:rPr>
                        <a:t>Name</a:t>
                      </a:r>
                    </a:p>
                  </a:txBody>
                  <a:tcPr/>
                </a:tc>
                <a:tc>
                  <a:txBody>
                    <a:bodyPr/>
                    <a:lstStyle/>
                    <a:p>
                      <a:pPr algn="l" fontAlgn="t"/>
                      <a:r>
                        <a:rPr lang="en-US">
                          <a:effectLst/>
                        </a:rPr>
                        <a:t>Limit</a:t>
                      </a:r>
                    </a:p>
                  </a:txBody>
                  <a:tcPr/>
                </a:tc>
                <a:extLst>
                  <a:ext uri="{0D108BD9-81ED-4DB2-BD59-A6C34878D82A}">
                    <a16:rowId xmlns:a16="http://schemas.microsoft.com/office/drawing/2014/main" val="2080253109"/>
                  </a:ext>
                </a:extLst>
              </a:tr>
              <a:tr h="0">
                <a:tc>
                  <a:txBody>
                    <a:bodyPr/>
                    <a:lstStyle/>
                    <a:p>
                      <a:pPr algn="l" fontAlgn="t"/>
                      <a:r>
                        <a:rPr lang="en-US">
                          <a:effectLst/>
                        </a:rPr>
                        <a:t>Timeout</a:t>
                      </a:r>
                    </a:p>
                  </a:txBody>
                  <a:tcPr/>
                </a:tc>
                <a:tc>
                  <a:txBody>
                    <a:bodyPr/>
                    <a:lstStyle/>
                    <a:p>
                      <a:pPr algn="l" fontAlgn="t"/>
                      <a:r>
                        <a:rPr lang="en-US">
                          <a:effectLst/>
                        </a:rPr>
                        <a:t>180 Seconds</a:t>
                      </a:r>
                    </a:p>
                  </a:txBody>
                  <a:tcPr/>
                </a:tc>
                <a:extLst>
                  <a:ext uri="{0D108BD9-81ED-4DB2-BD59-A6C34878D82A}">
                    <a16:rowId xmlns:a16="http://schemas.microsoft.com/office/drawing/2014/main" val="3867256442"/>
                  </a:ext>
                </a:extLst>
              </a:tr>
              <a:tr h="0">
                <a:tc>
                  <a:txBody>
                    <a:bodyPr/>
                    <a:lstStyle/>
                    <a:p>
                      <a:pPr algn="l" fontAlgn="t"/>
                      <a:r>
                        <a:rPr lang="en-US">
                          <a:effectLst/>
                        </a:rPr>
                        <a:t>Retry attempts</a:t>
                      </a:r>
                    </a:p>
                  </a:txBody>
                  <a:tcPr/>
                </a:tc>
                <a:tc>
                  <a:txBody>
                    <a:bodyPr/>
                    <a:lstStyle/>
                    <a:p>
                      <a:pPr algn="l" fontAlgn="t"/>
                      <a:r>
                        <a:rPr lang="en-US">
                          <a:effectLst/>
                        </a:rPr>
                        <a:t>4</a:t>
                      </a:r>
                    </a:p>
                  </a:txBody>
                  <a:tcPr/>
                </a:tc>
                <a:extLst>
                  <a:ext uri="{0D108BD9-81ED-4DB2-BD59-A6C34878D82A}">
                    <a16:rowId xmlns:a16="http://schemas.microsoft.com/office/drawing/2014/main" val="2599337498"/>
                  </a:ext>
                </a:extLst>
              </a:tr>
            </a:tbl>
          </a:graphicData>
        </a:graphic>
      </p:graphicFrame>
    </p:spTree>
    <p:extLst>
      <p:ext uri="{BB962C8B-B14F-4D97-AF65-F5344CB8AC3E}">
        <p14:creationId xmlns:p14="http://schemas.microsoft.com/office/powerpoint/2010/main" val="163776532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6761B3AB-9A7C-417C-97E5-FF534041CACA}"/>
              </a:ext>
            </a:extLst>
          </p:cNvPr>
          <p:cNvSpPr>
            <a:spLocks noGrp="1"/>
          </p:cNvSpPr>
          <p:nvPr>
            <p:ph type="title"/>
          </p:nvPr>
        </p:nvSpPr>
        <p:spPr>
          <a:xfrm>
            <a:off x="1570037" y="437999"/>
            <a:ext cx="3879147" cy="849463"/>
          </a:xfrm>
        </p:spPr>
        <p:txBody>
          <a:bodyPr/>
          <a:lstStyle/>
          <a:p>
            <a:r>
              <a:rPr lang="en-US"/>
              <a:t>Configure trial tenant</a:t>
            </a:r>
          </a:p>
        </p:txBody>
      </p:sp>
      <p:sp>
        <p:nvSpPr>
          <p:cNvPr id="7" name="Text Placeholder 4">
            <a:extLst>
              <a:ext uri="{FF2B5EF4-FFF2-40B4-BE49-F238E27FC236}">
                <a16:creationId xmlns:a16="http://schemas.microsoft.com/office/drawing/2014/main" id="{90ACB90D-992B-4408-B3ED-15C194BD74A4}"/>
              </a:ext>
            </a:extLst>
          </p:cNvPr>
          <p:cNvSpPr txBox="1">
            <a:spLocks/>
          </p:cNvSpPr>
          <p:nvPr>
            <p:custDataLst>
              <p:tags r:id="rId1"/>
            </p:custDataLst>
          </p:nvPr>
        </p:nvSpPr>
        <p:spPr>
          <a:xfrm>
            <a:off x="350837" y="1973262"/>
            <a:ext cx="5486401" cy="4862870"/>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100000"/>
              </a:lnSpc>
              <a:spcBef>
                <a:spcPts val="0"/>
              </a:spcBef>
              <a:spcAft>
                <a:spcPts val="0"/>
              </a:spcAft>
              <a:buClrTx/>
              <a:buSzPct val="90000"/>
              <a:buFont typeface="Arial" pitchFamily="34" charset="0"/>
              <a:buChar char="•"/>
              <a:tabLst/>
              <a:defRPr lang="en-US" sz="3600" b="1" i="0" kern="1200" spc="0" baseline="0" dirty="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pitchFamily="34" charset="0"/>
              <a:buNone/>
            </a:pPr>
            <a:r>
              <a:rPr lang="en-US" sz="2000">
                <a:latin typeface="+mn-lt"/>
              </a:rPr>
              <a:t>Objectives</a:t>
            </a:r>
          </a:p>
          <a:p>
            <a:pPr>
              <a:buNone/>
            </a:pPr>
            <a:r>
              <a:rPr lang="en-US" sz="2000" b="0">
                <a:latin typeface="+mn-lt"/>
              </a:rPr>
              <a:t>In this lab, you will be able to: </a:t>
            </a:r>
          </a:p>
          <a:p>
            <a:pPr>
              <a:buNone/>
            </a:pPr>
            <a:r>
              <a:rPr lang="en-US" sz="2000" b="0">
                <a:latin typeface="+mn-lt"/>
              </a:rPr>
              <a:t>•	Sign into the Admin center</a:t>
            </a:r>
          </a:p>
          <a:p>
            <a:pPr>
              <a:buNone/>
            </a:pPr>
            <a:r>
              <a:rPr lang="en-US" sz="2000" b="0">
                <a:latin typeface="+mn-lt"/>
              </a:rPr>
              <a:t>•	Configure trial Power Apps per user (previously Plan 2)</a:t>
            </a:r>
          </a:p>
          <a:p>
            <a:pPr>
              <a:buNone/>
            </a:pPr>
            <a:r>
              <a:rPr lang="en-US" sz="2000" b="0">
                <a:latin typeface="+mn-lt"/>
              </a:rPr>
              <a:t>•	Create SharePoint site and list</a:t>
            </a:r>
          </a:p>
          <a:p>
            <a:pPr marL="0" indent="0">
              <a:buFont typeface="Arial" pitchFamily="34" charset="0"/>
              <a:buNone/>
            </a:pPr>
            <a:endParaRPr lang="en-US" sz="2000" b="0">
              <a:latin typeface="+mn-lt"/>
            </a:endParaRPr>
          </a:p>
          <a:p>
            <a:pPr marL="0" indent="0">
              <a:buFont typeface="Arial" pitchFamily="34" charset="0"/>
              <a:buNone/>
            </a:pPr>
            <a:r>
              <a:rPr lang="en-US" sz="2000">
                <a:latin typeface="+mn-lt"/>
              </a:rPr>
              <a:t>Scenario</a:t>
            </a:r>
          </a:p>
          <a:p>
            <a:pPr marL="0" indent="0">
              <a:buNone/>
            </a:pPr>
            <a:r>
              <a:rPr lang="en-US" sz="2000" b="0">
                <a:latin typeface="+mn-lt"/>
              </a:rPr>
              <a:t>The organization wishes to build apps using the Power Apps platform to take advantage of No Code/Low Code application development in the cloud. As part of this effort, as part of this effort you need to configure the trial tenant to prepare it for labs within the  workshop</a:t>
            </a:r>
            <a:r>
              <a:rPr lang="en-US" sz="2400" b="0">
                <a:latin typeface="+mn-lt"/>
              </a:rPr>
              <a:t>.</a:t>
            </a:r>
          </a:p>
        </p:txBody>
      </p:sp>
    </p:spTree>
    <p:extLst>
      <p:ext uri="{BB962C8B-B14F-4D97-AF65-F5344CB8AC3E}">
        <p14:creationId xmlns:p14="http://schemas.microsoft.com/office/powerpoint/2010/main" val="3571336088"/>
      </p:ext>
    </p:extLst>
  </p:cSld>
  <p:clrMapOvr>
    <a:masterClrMapping/>
  </p:clrMapOvr>
  <p:transition>
    <p:fade/>
  </p:transition>
  <p:extLst>
    <p:ext uri="{6950BFC3-D8DA-4A85-94F7-54DA5524770B}">
      <p188:commentRel xmlns:p188="http://schemas.microsoft.com/office/powerpoint/2018/8/main" r:id="rId4"/>
    </p:ext>
  </p:extLs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2">
            <a:extLst>
              <a:ext uri="{FF2B5EF4-FFF2-40B4-BE49-F238E27FC236}">
                <a16:creationId xmlns:a16="http://schemas.microsoft.com/office/drawing/2014/main" id="{6F9EB9F2-07E2-4D64-BBD8-BB5B217F1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8012" y="326411"/>
            <a:ext cx="11780450" cy="6341702"/>
          </a:xfrm>
          <a:prstGeom prst="rect">
            <a:avLst/>
          </a:prstGeom>
          <a:solidFill>
            <a:schemeClr val="tx1">
              <a:alpha val="12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4B90FCF2-EECD-430D-9A80-C888748FFCE6}"/>
              </a:ext>
            </a:extLst>
          </p:cNvPr>
          <p:cNvSpPr>
            <a:spLocks noGrp="1"/>
          </p:cNvSpPr>
          <p:nvPr>
            <p:ph type="title"/>
          </p:nvPr>
        </p:nvSpPr>
        <p:spPr>
          <a:xfrm>
            <a:off x="4468427" y="984413"/>
            <a:ext cx="6901752" cy="5025697"/>
          </a:xfrm>
        </p:spPr>
        <p:txBody>
          <a:bodyPr vert="horz" lIns="91440" tIns="45720" rIns="91440" bIns="45720" rtlCol="0" anchor="ctr">
            <a:normAutofit/>
          </a:bodyPr>
          <a:lstStyle/>
          <a:p>
            <a:pPr defTabSz="914400"/>
            <a:r>
              <a:rPr lang="en-US" sz="5500" kern="1200">
                <a:solidFill>
                  <a:schemeClr val="tx1">
                    <a:lumMod val="85000"/>
                    <a:lumOff val="15000"/>
                  </a:schemeClr>
                </a:solidFill>
                <a:latin typeface="+mj-lt"/>
                <a:ea typeface="+mj-ea"/>
                <a:cs typeface="+mj-cs"/>
              </a:rPr>
              <a:t>Fundamentals</a:t>
            </a:r>
            <a:br>
              <a:rPr lang="en-US" sz="5500" kern="1200">
                <a:solidFill>
                  <a:schemeClr val="tx1">
                    <a:lumMod val="85000"/>
                    <a:lumOff val="15000"/>
                  </a:schemeClr>
                </a:solidFill>
                <a:latin typeface="+mj-lt"/>
                <a:ea typeface="+mj-ea"/>
                <a:cs typeface="+mj-cs"/>
              </a:rPr>
            </a:br>
            <a:endParaRPr lang="en-US" sz="5500" kern="1200">
              <a:solidFill>
                <a:schemeClr val="tx1">
                  <a:lumMod val="85000"/>
                  <a:lumOff val="15000"/>
                </a:schemeClr>
              </a:solidFill>
              <a:latin typeface="+mj-lt"/>
              <a:ea typeface="+mj-ea"/>
              <a:cs typeface="+mj-cs"/>
            </a:endParaRPr>
          </a:p>
        </p:txBody>
      </p:sp>
      <p:cxnSp>
        <p:nvCxnSpPr>
          <p:cNvPr id="30" name="Straight Connector 24">
            <a:extLst>
              <a:ext uri="{FF2B5EF4-FFF2-40B4-BE49-F238E27FC236}">
                <a16:creationId xmlns:a16="http://schemas.microsoft.com/office/drawing/2014/main" id="{F0C57C7C-DFE9-4A1E-B7A9-DF40E63366B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137220" y="2098356"/>
            <a:ext cx="0" cy="279781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607505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p:cNvGrpSpPr/>
          <p:nvPr/>
        </p:nvGrpSpPr>
        <p:grpSpPr>
          <a:xfrm>
            <a:off x="-230906" y="2640107"/>
            <a:ext cx="2920139" cy="966799"/>
            <a:chOff x="637239" y="2388657"/>
            <a:chExt cx="2321314" cy="762000"/>
          </a:xfrm>
        </p:grpSpPr>
        <p:sp>
          <p:nvSpPr>
            <p:cNvPr id="2" name="Rectangle 1"/>
            <p:cNvSpPr/>
            <p:nvPr/>
          </p:nvSpPr>
          <p:spPr>
            <a:xfrm>
              <a:off x="637239" y="2581473"/>
              <a:ext cx="2321314" cy="315354"/>
            </a:xfrm>
            <a:prstGeom prst="rect">
              <a:avLst/>
            </a:prstGeom>
          </p:spPr>
          <p:txBody>
            <a:bodyPr wrap="square">
              <a:spAutoFit/>
            </a:bodyPr>
            <a:lstStyle/>
            <a:p>
              <a:pPr algn="r"/>
              <a:r>
                <a:rPr lang="en-US" sz="2000">
                  <a:solidFill>
                    <a:schemeClr val="tx1">
                      <a:lumMod val="85000"/>
                      <a:lumOff val="15000"/>
                    </a:schemeClr>
                  </a:solidFill>
                  <a:latin typeface="Segoe UI Light" panose="020B0502040204020203" pitchFamily="34" charset="0"/>
                  <a:cs typeface="Segoe UI Light" panose="020B0502040204020203" pitchFamily="34" charset="0"/>
                </a:rPr>
                <a:t>Craft forms and screens</a:t>
              </a:r>
            </a:p>
          </p:txBody>
        </p:sp>
        <p:sp>
          <p:nvSpPr>
            <p:cNvPr id="15" name="Line Callout 2 (Accent Bar) 14"/>
            <p:cNvSpPr/>
            <p:nvPr/>
          </p:nvSpPr>
          <p:spPr>
            <a:xfrm flipH="1">
              <a:off x="2874585" y="2388657"/>
              <a:ext cx="83968" cy="762000"/>
            </a:xfrm>
            <a:prstGeom prst="accentCallout2">
              <a:avLst>
                <a:gd name="adj1" fmla="val 18750"/>
                <a:gd name="adj2" fmla="val -8333"/>
                <a:gd name="adj3" fmla="val 19862"/>
                <a:gd name="adj4" fmla="val -337107"/>
                <a:gd name="adj5" fmla="val 80107"/>
                <a:gd name="adj6" fmla="val -682791"/>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 name="Group 19"/>
          <p:cNvGrpSpPr/>
          <p:nvPr/>
        </p:nvGrpSpPr>
        <p:grpSpPr>
          <a:xfrm>
            <a:off x="0" y="4130326"/>
            <a:ext cx="2689234" cy="1019555"/>
            <a:chOff x="820794" y="2388658"/>
            <a:chExt cx="2137760" cy="678596"/>
          </a:xfrm>
        </p:grpSpPr>
        <p:sp>
          <p:nvSpPr>
            <p:cNvPr id="21" name="Rectangle 20"/>
            <p:cNvSpPr/>
            <p:nvPr/>
          </p:nvSpPr>
          <p:spPr>
            <a:xfrm>
              <a:off x="820794" y="2596098"/>
              <a:ext cx="2137760" cy="471156"/>
            </a:xfrm>
            <a:prstGeom prst="rect">
              <a:avLst/>
            </a:prstGeom>
          </p:spPr>
          <p:txBody>
            <a:bodyPr wrap="square">
              <a:spAutoFit/>
            </a:bodyPr>
            <a:lstStyle/>
            <a:p>
              <a:pPr algn="r"/>
              <a:r>
                <a:rPr lang="en-US" sz="2000">
                  <a:solidFill>
                    <a:schemeClr val="tx1">
                      <a:lumMod val="85000"/>
                      <a:lumOff val="15000"/>
                    </a:schemeClr>
                  </a:solidFill>
                  <a:latin typeface="Segoe UI Light" panose="020B0502040204020203" pitchFamily="34" charset="0"/>
                  <a:cs typeface="Segoe UI Light" panose="020B0502040204020203" pitchFamily="34" charset="0"/>
                </a:rPr>
                <a:t>Take advantage of device capabilities</a:t>
              </a:r>
            </a:p>
          </p:txBody>
        </p:sp>
        <p:sp>
          <p:nvSpPr>
            <p:cNvPr id="22" name="Line Callout 2 (Accent Bar) 21"/>
            <p:cNvSpPr/>
            <p:nvPr/>
          </p:nvSpPr>
          <p:spPr>
            <a:xfrm flipH="1">
              <a:off x="2874585" y="2388658"/>
              <a:ext cx="83968" cy="678596"/>
            </a:xfrm>
            <a:prstGeom prst="accentCallout2">
              <a:avLst>
                <a:gd name="adj1" fmla="val 77784"/>
                <a:gd name="adj2" fmla="val -18417"/>
                <a:gd name="adj3" fmla="val 77524"/>
                <a:gd name="adj4" fmla="val -337107"/>
                <a:gd name="adj5" fmla="val 56768"/>
                <a:gd name="adj6" fmla="val -672709"/>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 name="Group 22"/>
          <p:cNvGrpSpPr/>
          <p:nvPr/>
        </p:nvGrpSpPr>
        <p:grpSpPr>
          <a:xfrm flipH="1">
            <a:off x="9737083" y="3943121"/>
            <a:ext cx="2577151" cy="1448915"/>
            <a:chOff x="637240" y="2388656"/>
            <a:chExt cx="2321314" cy="880005"/>
          </a:xfrm>
        </p:grpSpPr>
        <p:sp>
          <p:nvSpPr>
            <p:cNvPr id="24" name="Rectangle 23"/>
            <p:cNvSpPr/>
            <p:nvPr/>
          </p:nvSpPr>
          <p:spPr>
            <a:xfrm>
              <a:off x="637240" y="2597003"/>
              <a:ext cx="2321314" cy="429938"/>
            </a:xfrm>
            <a:prstGeom prst="rect">
              <a:avLst/>
            </a:prstGeom>
          </p:spPr>
          <p:txBody>
            <a:bodyPr wrap="square">
              <a:spAutoFit/>
            </a:bodyPr>
            <a:lstStyle/>
            <a:p>
              <a:r>
                <a:rPr lang="en-US" sz="2000">
                  <a:solidFill>
                    <a:schemeClr val="tx1">
                      <a:lumMod val="85000"/>
                      <a:lumOff val="15000"/>
                    </a:schemeClr>
                  </a:solidFill>
                  <a:latin typeface="Segoe UI Light" panose="020B0502040204020203" pitchFamily="34" charset="0"/>
                  <a:cs typeface="Segoe UI Light" panose="020B0502040204020203" pitchFamily="34" charset="0"/>
                </a:rPr>
                <a:t>Power your app through data</a:t>
              </a:r>
            </a:p>
          </p:txBody>
        </p:sp>
        <p:sp>
          <p:nvSpPr>
            <p:cNvPr id="25" name="Line Callout 2 (Accent Bar) 24"/>
            <p:cNvSpPr/>
            <p:nvPr/>
          </p:nvSpPr>
          <p:spPr>
            <a:xfrm flipH="1">
              <a:off x="2798214" y="2388656"/>
              <a:ext cx="160340" cy="880005"/>
            </a:xfrm>
            <a:prstGeom prst="accentCallout2">
              <a:avLst>
                <a:gd name="adj1" fmla="val 20972"/>
                <a:gd name="adj2" fmla="val 1880"/>
                <a:gd name="adj3" fmla="val 20824"/>
                <a:gd name="adj4" fmla="val -224795"/>
                <a:gd name="adj5" fmla="val 60865"/>
                <a:gd name="adj6" fmla="val -372596"/>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Group 25"/>
          <p:cNvGrpSpPr/>
          <p:nvPr/>
        </p:nvGrpSpPr>
        <p:grpSpPr>
          <a:xfrm flipH="1">
            <a:off x="9737083" y="2137793"/>
            <a:ext cx="2577152" cy="1309166"/>
            <a:chOff x="883610" y="2388656"/>
            <a:chExt cx="2074946" cy="880005"/>
          </a:xfrm>
        </p:grpSpPr>
        <p:sp>
          <p:nvSpPr>
            <p:cNvPr id="27" name="Rectangle 26"/>
            <p:cNvSpPr/>
            <p:nvPr/>
          </p:nvSpPr>
          <p:spPr>
            <a:xfrm>
              <a:off x="883610" y="2586967"/>
              <a:ext cx="2074946" cy="475832"/>
            </a:xfrm>
            <a:prstGeom prst="rect">
              <a:avLst/>
            </a:prstGeom>
          </p:spPr>
          <p:txBody>
            <a:bodyPr wrap="square">
              <a:spAutoFit/>
            </a:bodyPr>
            <a:lstStyle/>
            <a:p>
              <a:r>
                <a:rPr lang="en-US" sz="2000">
                  <a:solidFill>
                    <a:schemeClr val="tx1">
                      <a:lumMod val="85000"/>
                      <a:lumOff val="15000"/>
                    </a:schemeClr>
                  </a:solidFill>
                  <a:latin typeface="Segoe UI Light" panose="020B0502040204020203" pitchFamily="34" charset="0"/>
                  <a:cs typeface="Segoe UI Light" panose="020B0502040204020203" pitchFamily="34" charset="0"/>
                </a:rPr>
                <a:t>Build business logic into your apps</a:t>
              </a:r>
            </a:p>
          </p:txBody>
        </p:sp>
        <p:sp>
          <p:nvSpPr>
            <p:cNvPr id="28" name="Line Callout 2 (Accent Bar) 27"/>
            <p:cNvSpPr/>
            <p:nvPr/>
          </p:nvSpPr>
          <p:spPr>
            <a:xfrm flipH="1">
              <a:off x="2798214" y="2388656"/>
              <a:ext cx="160340" cy="880005"/>
            </a:xfrm>
            <a:prstGeom prst="accentCallout2">
              <a:avLst>
                <a:gd name="adj1" fmla="val 79661"/>
                <a:gd name="adj2" fmla="val -8817"/>
                <a:gd name="adj3" fmla="val 79513"/>
                <a:gd name="adj4" fmla="val -230144"/>
                <a:gd name="adj5" fmla="val -11294"/>
                <a:gd name="adj6" fmla="val -383292"/>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Title 3">
            <a:extLst>
              <a:ext uri="{FF2B5EF4-FFF2-40B4-BE49-F238E27FC236}">
                <a16:creationId xmlns:a16="http://schemas.microsoft.com/office/drawing/2014/main" id="{125E8924-C304-4247-9EF9-F3D3E5B136BE}"/>
              </a:ext>
            </a:extLst>
          </p:cNvPr>
          <p:cNvSpPr>
            <a:spLocks noGrp="1"/>
          </p:cNvSpPr>
          <p:nvPr>
            <p:ph type="title"/>
          </p:nvPr>
        </p:nvSpPr>
        <p:spPr/>
        <p:txBody>
          <a:bodyPr/>
          <a:lstStyle/>
          <a:p>
            <a:r>
              <a:rPr lang="en-US">
                <a:solidFill>
                  <a:srgbClr val="0078D7"/>
                </a:solidFill>
                <a:cs typeface="Segoe UI"/>
              </a:rPr>
              <a:t>Power Apps Studio</a:t>
            </a:r>
            <a:br>
              <a:rPr lang="en-US"/>
            </a:br>
            <a:endParaRPr lang="en-US"/>
          </a:p>
        </p:txBody>
      </p:sp>
      <p:pic>
        <p:nvPicPr>
          <p:cNvPr id="5" name="Picture 4">
            <a:extLst>
              <a:ext uri="{FF2B5EF4-FFF2-40B4-BE49-F238E27FC236}">
                <a16:creationId xmlns:a16="http://schemas.microsoft.com/office/drawing/2014/main" id="{CC390C28-9AE9-4D30-85CC-F8D765C76398}"/>
              </a:ext>
            </a:extLst>
          </p:cNvPr>
          <p:cNvPicPr>
            <a:picLocks noChangeAspect="1"/>
          </p:cNvPicPr>
          <p:nvPr/>
        </p:nvPicPr>
        <p:blipFill>
          <a:blip r:embed="rId3"/>
          <a:stretch>
            <a:fillRect/>
          </a:stretch>
        </p:blipFill>
        <p:spPr>
          <a:xfrm>
            <a:off x="3088894" y="1584930"/>
            <a:ext cx="6024943" cy="4045932"/>
          </a:xfrm>
          <a:prstGeom prst="rect">
            <a:avLst/>
          </a:prstGeom>
        </p:spPr>
      </p:pic>
    </p:spTree>
    <p:extLst>
      <p:ext uri="{BB962C8B-B14F-4D97-AF65-F5344CB8AC3E}">
        <p14:creationId xmlns:p14="http://schemas.microsoft.com/office/powerpoint/2010/main" val="1491234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F03CF04-474B-4E7D-AB5C-A8B15AC59B12}"/>
              </a:ext>
            </a:extLst>
          </p:cNvPr>
          <p:cNvPicPr>
            <a:picLocks noChangeAspect="1"/>
          </p:cNvPicPr>
          <p:nvPr/>
        </p:nvPicPr>
        <p:blipFill>
          <a:blip r:embed="rId3"/>
          <a:stretch>
            <a:fillRect/>
          </a:stretch>
        </p:blipFill>
        <p:spPr>
          <a:xfrm>
            <a:off x="884237" y="1135062"/>
            <a:ext cx="10551894" cy="5105400"/>
          </a:xfrm>
          <a:prstGeom prst="rect">
            <a:avLst/>
          </a:prstGeom>
        </p:spPr>
      </p:pic>
      <p:sp>
        <p:nvSpPr>
          <p:cNvPr id="9" name="Title 8">
            <a:extLst>
              <a:ext uri="{FF2B5EF4-FFF2-40B4-BE49-F238E27FC236}">
                <a16:creationId xmlns:a16="http://schemas.microsoft.com/office/drawing/2014/main" id="{CFA559AD-4C6A-43CC-BEFA-3713581D3866}"/>
              </a:ext>
            </a:extLst>
          </p:cNvPr>
          <p:cNvSpPr>
            <a:spLocks noGrp="1"/>
          </p:cNvSpPr>
          <p:nvPr>
            <p:ph type="title"/>
          </p:nvPr>
        </p:nvSpPr>
        <p:spPr/>
        <p:txBody>
          <a:bodyPr/>
          <a:lstStyle/>
          <a:p>
            <a:r>
              <a:rPr lang="en-US">
                <a:solidFill>
                  <a:srgbClr val="0078D7"/>
                </a:solidFill>
                <a:cs typeface="Segoe UI"/>
              </a:rPr>
              <a:t>Power Apps Studio components</a:t>
            </a:r>
            <a:br>
              <a:rPr lang="en-US"/>
            </a:br>
            <a:endParaRPr lang="en-US"/>
          </a:p>
        </p:txBody>
      </p:sp>
    </p:spTree>
    <p:extLst>
      <p:ext uri="{BB962C8B-B14F-4D97-AF65-F5344CB8AC3E}">
        <p14:creationId xmlns:p14="http://schemas.microsoft.com/office/powerpoint/2010/main" val="388882919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FC532B9-1692-43B5-938B-BB438AC5343F}"/>
              </a:ext>
            </a:extLst>
          </p:cNvPr>
          <p:cNvSpPr>
            <a:spLocks noGrp="1"/>
          </p:cNvSpPr>
          <p:nvPr>
            <p:ph type="title"/>
          </p:nvPr>
        </p:nvSpPr>
        <p:spPr>
          <a:xfrm>
            <a:off x="2255202" y="373062"/>
            <a:ext cx="3505518" cy="1514261"/>
          </a:xfrm>
        </p:spPr>
        <p:txBody>
          <a:bodyPr/>
          <a:lstStyle/>
          <a:p>
            <a:r>
              <a:rPr lang="en-US">
                <a:solidFill>
                  <a:srgbClr val="0078D7"/>
                </a:solidFill>
                <a:cs typeface="Segoe UI"/>
              </a:rPr>
              <a:t>Power Apps Studio</a:t>
            </a:r>
          </a:p>
        </p:txBody>
      </p:sp>
      <p:sp>
        <p:nvSpPr>
          <p:cNvPr id="5" name="Text Placeholder 4">
            <a:extLst>
              <a:ext uri="{FF2B5EF4-FFF2-40B4-BE49-F238E27FC236}">
                <a16:creationId xmlns:a16="http://schemas.microsoft.com/office/drawing/2014/main" id="{E6DD22F5-FCD1-4626-9B8E-858520FA2A89}"/>
              </a:ext>
            </a:extLst>
          </p:cNvPr>
          <p:cNvSpPr>
            <a:spLocks noGrp="1"/>
          </p:cNvSpPr>
          <p:nvPr>
            <p:ph type="body" sz="quarter" idx="12"/>
          </p:nvPr>
        </p:nvSpPr>
        <p:spPr>
          <a:xfrm>
            <a:off x="274320" y="3017520"/>
            <a:ext cx="5486400" cy="3696781"/>
          </a:xfrm>
        </p:spPr>
        <p:txBody>
          <a:bodyPr vert="horz" wrap="square" lIns="146304" tIns="91440" rIns="146304" bIns="91440" rtlCol="0" anchor="t">
            <a:spAutoFit/>
          </a:bodyPr>
          <a:lstStyle/>
          <a:p>
            <a:pPr marL="456565" indent="-456565">
              <a:lnSpc>
                <a:spcPct val="110000"/>
              </a:lnSpc>
              <a:spcBef>
                <a:spcPts val="2000"/>
              </a:spcBef>
              <a:buFont typeface="+mj-lt"/>
              <a:buAutoNum type="arabicPeriod"/>
            </a:pPr>
            <a:r>
              <a:rPr lang="en-US" spc="50">
                <a:latin typeface="Segoe UI Semilight"/>
                <a:cs typeface="Segoe UI Semilight"/>
              </a:rPr>
              <a:t>Navigate to Power Apps Maker Portal</a:t>
            </a:r>
            <a:endParaRPr lang="en-US"/>
          </a:p>
          <a:p>
            <a:pPr marL="456565" indent="-456565">
              <a:lnSpc>
                <a:spcPct val="110000"/>
              </a:lnSpc>
              <a:spcBef>
                <a:spcPts val="2000"/>
              </a:spcBef>
              <a:buFont typeface="+mj-lt"/>
              <a:buAutoNum type="arabicPeriod"/>
            </a:pPr>
            <a:r>
              <a:rPr lang="en-US" spc="50">
                <a:latin typeface="Segoe UI Semilight"/>
                <a:cs typeface="Segoe UI Semilight"/>
              </a:rPr>
              <a:t>Deploy a template app</a:t>
            </a:r>
          </a:p>
          <a:p>
            <a:pPr marL="456565" indent="-456565">
              <a:lnSpc>
                <a:spcPct val="110000"/>
              </a:lnSpc>
              <a:spcBef>
                <a:spcPts val="2000"/>
              </a:spcBef>
              <a:buFont typeface="+mj-lt"/>
              <a:buAutoNum type="arabicPeriod"/>
            </a:pPr>
            <a:r>
              <a:rPr lang="en-US" spc="50">
                <a:latin typeface="Segoe UI Semilight"/>
                <a:cs typeface="Segoe UI Semilight"/>
              </a:rPr>
              <a:t>Explore app in Power Apps Studio</a:t>
            </a:r>
          </a:p>
        </p:txBody>
      </p:sp>
    </p:spTree>
    <p:extLst>
      <p:ext uri="{BB962C8B-B14F-4D97-AF65-F5344CB8AC3E}">
        <p14:creationId xmlns:p14="http://schemas.microsoft.com/office/powerpoint/2010/main" val="236398845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299471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2C15F-95E3-481D-A0CF-AE6555E28DA2}"/>
              </a:ext>
            </a:extLst>
          </p:cNvPr>
          <p:cNvSpPr>
            <a:spLocks noGrp="1"/>
          </p:cNvSpPr>
          <p:nvPr>
            <p:ph type="title"/>
          </p:nvPr>
        </p:nvSpPr>
        <p:spPr/>
        <p:txBody>
          <a:bodyPr/>
          <a:lstStyle/>
          <a:p>
            <a:r>
              <a:rPr lang="en-US">
                <a:solidFill>
                  <a:srgbClr val="0078D7"/>
                </a:solidFill>
                <a:cs typeface="Segoe UI"/>
              </a:rPr>
              <a:t>Creating an App </a:t>
            </a:r>
            <a:br>
              <a:rPr lang="en-US"/>
            </a:br>
            <a:endParaRPr lang="en-US"/>
          </a:p>
        </p:txBody>
      </p:sp>
      <p:sp>
        <p:nvSpPr>
          <p:cNvPr id="5" name="Text Placeholder 4">
            <a:extLst>
              <a:ext uri="{FF2B5EF4-FFF2-40B4-BE49-F238E27FC236}">
                <a16:creationId xmlns:a16="http://schemas.microsoft.com/office/drawing/2014/main" id="{85009BE3-B1BD-4BF5-A2F8-829617D42196}"/>
              </a:ext>
            </a:extLst>
          </p:cNvPr>
          <p:cNvSpPr>
            <a:spLocks noGrp="1"/>
          </p:cNvSpPr>
          <p:nvPr>
            <p:ph type="body" sz="quarter" idx="10"/>
          </p:nvPr>
        </p:nvSpPr>
        <p:spPr>
          <a:xfrm>
            <a:off x="493077" y="1212849"/>
            <a:ext cx="5050647" cy="3122393"/>
          </a:xfrm>
        </p:spPr>
        <p:txBody>
          <a:bodyPr/>
          <a:lstStyle/>
          <a:p>
            <a:pPr marL="0" indent="0">
              <a:lnSpc>
                <a:spcPct val="120000"/>
              </a:lnSpc>
              <a:spcBef>
                <a:spcPts val="0"/>
              </a:spcBef>
              <a:spcAft>
                <a:spcPts val="300"/>
              </a:spcAft>
              <a:buNone/>
            </a:pPr>
            <a:r>
              <a:rPr lang="en-US" sz="3200">
                <a:gradFill>
                  <a:gsLst>
                    <a:gs pos="1250">
                      <a:srgbClr val="505050"/>
                    </a:gs>
                    <a:gs pos="100000">
                      <a:srgbClr val="505050"/>
                    </a:gs>
                  </a:gsLst>
                  <a:lin ang="5400000" scaled="0"/>
                </a:gradFill>
              </a:rPr>
              <a:t>3 options for creating new apps:</a:t>
            </a:r>
          </a:p>
          <a:p>
            <a:pPr lvl="1">
              <a:lnSpc>
                <a:spcPct val="120000"/>
              </a:lnSpc>
              <a:spcBef>
                <a:spcPts val="0"/>
              </a:spcBef>
            </a:pPr>
            <a:r>
              <a:rPr lang="en-US" sz="2000">
                <a:gradFill>
                  <a:gsLst>
                    <a:gs pos="1250">
                      <a:srgbClr val="505050"/>
                    </a:gs>
                    <a:gs pos="100000">
                      <a:srgbClr val="505050"/>
                    </a:gs>
                  </a:gsLst>
                  <a:lin ang="5400000" scaled="0"/>
                </a:gradFill>
              </a:rPr>
              <a:t>Start from scratch (create from blank)</a:t>
            </a:r>
          </a:p>
          <a:p>
            <a:pPr lvl="1">
              <a:lnSpc>
                <a:spcPct val="120000"/>
              </a:lnSpc>
              <a:spcBef>
                <a:spcPts val="0"/>
              </a:spcBef>
            </a:pPr>
            <a:r>
              <a:rPr lang="en-US" sz="2000">
                <a:gradFill>
                  <a:gsLst>
                    <a:gs pos="1250">
                      <a:srgbClr val="505050"/>
                    </a:gs>
                    <a:gs pos="100000">
                      <a:srgbClr val="505050"/>
                    </a:gs>
                  </a:gsLst>
                  <a:lin ang="5400000" scaled="0"/>
                </a:gradFill>
              </a:rPr>
              <a:t>Start from data</a:t>
            </a:r>
          </a:p>
          <a:p>
            <a:pPr lvl="1">
              <a:lnSpc>
                <a:spcPct val="120000"/>
              </a:lnSpc>
              <a:spcBef>
                <a:spcPts val="0"/>
              </a:spcBef>
            </a:pPr>
            <a:r>
              <a:rPr lang="en-US" sz="2000">
                <a:gradFill>
                  <a:gsLst>
                    <a:gs pos="1250">
                      <a:srgbClr val="505050"/>
                    </a:gs>
                    <a:gs pos="100000">
                      <a:srgbClr val="505050"/>
                    </a:gs>
                  </a:gsLst>
                  <a:lin ang="5400000" scaled="0"/>
                </a:gradFill>
              </a:rPr>
              <a:t>Start from a template</a:t>
            </a:r>
          </a:p>
          <a:p>
            <a:endParaRPr lang="en-US"/>
          </a:p>
        </p:txBody>
      </p:sp>
      <p:pic>
        <p:nvPicPr>
          <p:cNvPr id="3" name="Picture 2">
            <a:extLst>
              <a:ext uri="{FF2B5EF4-FFF2-40B4-BE49-F238E27FC236}">
                <a16:creationId xmlns:a16="http://schemas.microsoft.com/office/drawing/2014/main" id="{A540C662-7F41-41C5-8A50-990812FFCD9F}"/>
              </a:ext>
            </a:extLst>
          </p:cNvPr>
          <p:cNvPicPr>
            <a:picLocks noChangeAspect="1"/>
          </p:cNvPicPr>
          <p:nvPr/>
        </p:nvPicPr>
        <p:blipFill>
          <a:blip r:embed="rId4"/>
          <a:stretch>
            <a:fillRect/>
          </a:stretch>
        </p:blipFill>
        <p:spPr>
          <a:xfrm>
            <a:off x="5761038" y="1211263"/>
            <a:ext cx="5279246" cy="1602521"/>
          </a:xfrm>
          <a:prstGeom prst="rect">
            <a:avLst/>
          </a:prstGeom>
        </p:spPr>
      </p:pic>
      <p:pic>
        <p:nvPicPr>
          <p:cNvPr id="4" name="Picture 3">
            <a:extLst>
              <a:ext uri="{FF2B5EF4-FFF2-40B4-BE49-F238E27FC236}">
                <a16:creationId xmlns:a16="http://schemas.microsoft.com/office/drawing/2014/main" id="{8CAE28EB-8021-4F21-ABAF-B6605D66B2BC}"/>
              </a:ext>
            </a:extLst>
          </p:cNvPr>
          <p:cNvPicPr>
            <a:picLocks noChangeAspect="1"/>
          </p:cNvPicPr>
          <p:nvPr/>
        </p:nvPicPr>
        <p:blipFill>
          <a:blip r:embed="rId5"/>
          <a:stretch>
            <a:fillRect/>
          </a:stretch>
        </p:blipFill>
        <p:spPr>
          <a:xfrm>
            <a:off x="5761038" y="2927767"/>
            <a:ext cx="5050646" cy="1959540"/>
          </a:xfrm>
          <a:prstGeom prst="rect">
            <a:avLst/>
          </a:prstGeom>
        </p:spPr>
      </p:pic>
      <p:pic>
        <p:nvPicPr>
          <p:cNvPr id="7" name="Picture 6">
            <a:extLst>
              <a:ext uri="{FF2B5EF4-FFF2-40B4-BE49-F238E27FC236}">
                <a16:creationId xmlns:a16="http://schemas.microsoft.com/office/drawing/2014/main" id="{0FB86561-A419-45D4-9439-EF8EF758DAB4}"/>
              </a:ext>
            </a:extLst>
          </p:cNvPr>
          <p:cNvPicPr>
            <a:picLocks noChangeAspect="1"/>
          </p:cNvPicPr>
          <p:nvPr/>
        </p:nvPicPr>
        <p:blipFill>
          <a:blip r:embed="rId6"/>
          <a:stretch>
            <a:fillRect/>
          </a:stretch>
        </p:blipFill>
        <p:spPr>
          <a:xfrm>
            <a:off x="5761355" y="4656160"/>
            <a:ext cx="4870926" cy="2254204"/>
          </a:xfrm>
          <a:prstGeom prst="rect">
            <a:avLst/>
          </a:prstGeom>
        </p:spPr>
      </p:pic>
    </p:spTree>
    <p:extLst>
      <p:ext uri="{BB962C8B-B14F-4D97-AF65-F5344CB8AC3E}">
        <p14:creationId xmlns:p14="http://schemas.microsoft.com/office/powerpoint/2010/main" val="3716265243"/>
      </p:ext>
    </p:extLst>
  </p:cSld>
  <p:clrMapOvr>
    <a:masterClrMapping/>
  </p:clrMapOvr>
  <p:transition>
    <p:fade/>
  </p:transition>
  <p:extLst>
    <p:ext uri="{6950BFC3-D8DA-4A85-94F7-54DA5524770B}">
      <p188:commentRel xmlns:p188="http://schemas.microsoft.com/office/powerpoint/2018/8/main" r:id="rId3"/>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4D454C0-CCED-4D53-B063-82B463E78DA7}"/>
              </a:ext>
            </a:extLst>
          </p:cNvPr>
          <p:cNvPicPr>
            <a:picLocks noChangeAspect="1"/>
          </p:cNvPicPr>
          <p:nvPr/>
        </p:nvPicPr>
        <p:blipFill>
          <a:blip r:embed="rId4"/>
          <a:stretch>
            <a:fillRect/>
          </a:stretch>
        </p:blipFill>
        <p:spPr>
          <a:xfrm>
            <a:off x="731837" y="2279649"/>
            <a:ext cx="1647682" cy="2589213"/>
          </a:xfrm>
          <a:prstGeom prst="rect">
            <a:avLst/>
          </a:prstGeom>
        </p:spPr>
      </p:pic>
      <p:sp>
        <p:nvSpPr>
          <p:cNvPr id="2" name="Title 1">
            <a:extLst>
              <a:ext uri="{FF2B5EF4-FFF2-40B4-BE49-F238E27FC236}">
                <a16:creationId xmlns:a16="http://schemas.microsoft.com/office/drawing/2014/main" id="{4CFEDFCF-D6E0-4C86-94E6-A5411E3F1AF5}"/>
              </a:ext>
            </a:extLst>
          </p:cNvPr>
          <p:cNvSpPr>
            <a:spLocks noGrp="1"/>
          </p:cNvSpPr>
          <p:nvPr>
            <p:ph type="title"/>
          </p:nvPr>
        </p:nvSpPr>
        <p:spPr/>
        <p:txBody>
          <a:bodyPr/>
          <a:lstStyle/>
          <a:p>
            <a:r>
              <a:rPr lang="en-US">
                <a:solidFill>
                  <a:srgbClr val="0078D7"/>
                </a:solidFill>
                <a:cs typeface="Segoe UI"/>
              </a:rPr>
              <a:t>Layout options</a:t>
            </a:r>
            <a:br>
              <a:rPr lang="en-US"/>
            </a:br>
            <a:endParaRPr lang="en-US"/>
          </a:p>
        </p:txBody>
      </p:sp>
      <p:sp>
        <p:nvSpPr>
          <p:cNvPr id="11" name="TextBox 10">
            <a:extLst>
              <a:ext uri="{FF2B5EF4-FFF2-40B4-BE49-F238E27FC236}">
                <a16:creationId xmlns:a16="http://schemas.microsoft.com/office/drawing/2014/main" id="{03F59770-AD8B-469B-A88E-3E29D4DA280A}"/>
              </a:ext>
            </a:extLst>
          </p:cNvPr>
          <p:cNvSpPr txBox="1"/>
          <p:nvPr/>
        </p:nvSpPr>
        <p:spPr>
          <a:xfrm>
            <a:off x="8455546" y="1051012"/>
            <a:ext cx="3133535" cy="475421"/>
          </a:xfrm>
          <a:prstGeom prst="rect">
            <a:avLst/>
          </a:prstGeom>
        </p:spPr>
        <p:txBody>
          <a:bodyPr vert="horz" wrap="square" lIns="146283" tIns="91427" rIns="0" bIns="0" rtlCol="0">
            <a:noAutofit/>
          </a:bodyPr>
          <a:lstStyle/>
          <a:p>
            <a:pPr>
              <a:lnSpc>
                <a:spcPct val="110000"/>
              </a:lnSpc>
              <a:spcBef>
                <a:spcPts val="2000"/>
              </a:spcBef>
            </a:pPr>
            <a:r>
              <a:rPr lang="en-US" sz="2000"/>
              <a:t>Screen size + Orientation</a:t>
            </a:r>
          </a:p>
          <a:p>
            <a:pPr>
              <a:lnSpc>
                <a:spcPct val="110000"/>
              </a:lnSpc>
              <a:spcBef>
                <a:spcPts val="2000"/>
              </a:spcBef>
            </a:pPr>
            <a:endParaRPr lang="en-US" sz="2000" spc="50">
              <a:gradFill>
                <a:gsLst>
                  <a:gs pos="14159">
                    <a:schemeClr val="tx1"/>
                  </a:gs>
                  <a:gs pos="32000">
                    <a:schemeClr val="tx1"/>
                  </a:gs>
                </a:gsLst>
                <a:lin ang="5400000" scaled="1"/>
              </a:gradFill>
              <a:latin typeface="Segoe UI Semilight" panose="020B0402040204020203" pitchFamily="34" charset="0"/>
              <a:cs typeface="Segoe UI Semilight" panose="020B0402040204020203" pitchFamily="34" charset="0"/>
            </a:endParaRPr>
          </a:p>
        </p:txBody>
      </p:sp>
      <p:sp>
        <p:nvSpPr>
          <p:cNvPr id="12" name="TextBox 11">
            <a:extLst>
              <a:ext uri="{FF2B5EF4-FFF2-40B4-BE49-F238E27FC236}">
                <a16:creationId xmlns:a16="http://schemas.microsoft.com/office/drawing/2014/main" id="{BFDCB6BC-4837-48FD-907E-BBD2084BA873}"/>
              </a:ext>
            </a:extLst>
          </p:cNvPr>
          <p:cNvSpPr txBox="1"/>
          <p:nvPr/>
        </p:nvSpPr>
        <p:spPr>
          <a:xfrm>
            <a:off x="4496702" y="4961363"/>
            <a:ext cx="922367" cy="475421"/>
          </a:xfrm>
          <a:prstGeom prst="rect">
            <a:avLst/>
          </a:prstGeom>
        </p:spPr>
        <p:txBody>
          <a:bodyPr vert="horz" wrap="square" lIns="146283" tIns="91427" rIns="0" bIns="0" rtlCol="0" anchor="t">
            <a:noAutofit/>
          </a:bodyPr>
          <a:lstStyle/>
          <a:p>
            <a:r>
              <a:rPr lang="en-US" sz="2000"/>
              <a:t>Tablet</a:t>
            </a:r>
          </a:p>
        </p:txBody>
      </p:sp>
      <p:sp>
        <p:nvSpPr>
          <p:cNvPr id="13" name="TextBox 12">
            <a:extLst>
              <a:ext uri="{FF2B5EF4-FFF2-40B4-BE49-F238E27FC236}">
                <a16:creationId xmlns:a16="http://schemas.microsoft.com/office/drawing/2014/main" id="{F96F65E3-2373-4140-BF6C-A1D2F809CB2B}"/>
              </a:ext>
            </a:extLst>
          </p:cNvPr>
          <p:cNvSpPr txBox="1"/>
          <p:nvPr/>
        </p:nvSpPr>
        <p:spPr>
          <a:xfrm>
            <a:off x="1046688" y="4956527"/>
            <a:ext cx="1019443" cy="475421"/>
          </a:xfrm>
          <a:prstGeom prst="rect">
            <a:avLst/>
          </a:prstGeom>
        </p:spPr>
        <p:txBody>
          <a:bodyPr vert="horz" wrap="square" lIns="146283" tIns="91427" rIns="0" bIns="0" rtlCol="0" anchor="t">
            <a:noAutofit/>
          </a:bodyPr>
          <a:lstStyle/>
          <a:p>
            <a:r>
              <a:rPr lang="en-US" sz="2000"/>
              <a:t>Phone</a:t>
            </a:r>
          </a:p>
        </p:txBody>
      </p:sp>
      <p:pic>
        <p:nvPicPr>
          <p:cNvPr id="10" name="Picture 9">
            <a:extLst>
              <a:ext uri="{FF2B5EF4-FFF2-40B4-BE49-F238E27FC236}">
                <a16:creationId xmlns:a16="http://schemas.microsoft.com/office/drawing/2014/main" id="{C431870F-E289-4F36-85DC-73F777D6D08B}"/>
              </a:ext>
            </a:extLst>
          </p:cNvPr>
          <p:cNvPicPr>
            <a:picLocks noChangeAspect="1"/>
          </p:cNvPicPr>
          <p:nvPr/>
        </p:nvPicPr>
        <p:blipFill rotWithShape="1">
          <a:blip r:embed="rId5"/>
          <a:srcRect l="2626" t="4271" r="4376" b="5226"/>
          <a:stretch/>
        </p:blipFill>
        <p:spPr>
          <a:xfrm>
            <a:off x="2615710" y="2067733"/>
            <a:ext cx="4586211" cy="2801088"/>
          </a:xfrm>
          <a:prstGeom prst="rect">
            <a:avLst/>
          </a:prstGeom>
        </p:spPr>
      </p:pic>
      <p:pic>
        <p:nvPicPr>
          <p:cNvPr id="3" name="Picture 3" descr="Graphical user interface, text, application&#10;&#10;Description automatically generated">
            <a:extLst>
              <a:ext uri="{FF2B5EF4-FFF2-40B4-BE49-F238E27FC236}">
                <a16:creationId xmlns:a16="http://schemas.microsoft.com/office/drawing/2014/main" id="{4E8EF135-185D-4998-87D8-0458480C08B6}"/>
              </a:ext>
            </a:extLst>
          </p:cNvPr>
          <p:cNvPicPr>
            <a:picLocks noChangeAspect="1"/>
          </p:cNvPicPr>
          <p:nvPr/>
        </p:nvPicPr>
        <p:blipFill rotWithShape="1">
          <a:blip r:embed="rId6"/>
          <a:srcRect t="5229" b="-98"/>
          <a:stretch/>
        </p:blipFill>
        <p:spPr>
          <a:xfrm>
            <a:off x="8069832" y="1526756"/>
            <a:ext cx="3895331" cy="4784459"/>
          </a:xfrm>
          <a:prstGeom prst="rect">
            <a:avLst/>
          </a:prstGeom>
          <a:ln w="6350">
            <a:solidFill>
              <a:schemeClr val="tx1"/>
            </a:solidFill>
          </a:ln>
        </p:spPr>
      </p:pic>
    </p:spTree>
    <p:extLst>
      <p:ext uri="{BB962C8B-B14F-4D97-AF65-F5344CB8AC3E}">
        <p14:creationId xmlns:p14="http://schemas.microsoft.com/office/powerpoint/2010/main" val="989663208"/>
      </p:ext>
    </p:extLst>
  </p:cSld>
  <p:clrMapOvr>
    <a:masterClrMapping/>
  </p:clrMapOvr>
  <p:transition>
    <p:fade/>
  </p:transition>
  <p:extLst>
    <p:ext uri="{6950BFC3-D8DA-4A85-94F7-54DA5524770B}">
      <p188:commentRel xmlns:p188="http://schemas.microsoft.com/office/powerpoint/2018/8/main" r:id="rId3"/>
    </p:ext>
  </p:extLs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ACF75-F605-4D7C-91D9-6BF469817EE7}"/>
              </a:ext>
            </a:extLst>
          </p:cNvPr>
          <p:cNvSpPr>
            <a:spLocks noGrp="1"/>
          </p:cNvSpPr>
          <p:nvPr>
            <p:ph type="title"/>
          </p:nvPr>
        </p:nvSpPr>
        <p:spPr/>
        <p:txBody>
          <a:bodyPr/>
          <a:lstStyle/>
          <a:p>
            <a:r>
              <a:rPr lang="en-US"/>
              <a:t>Power Apps is responsive</a:t>
            </a:r>
          </a:p>
        </p:txBody>
      </p:sp>
      <p:pic>
        <p:nvPicPr>
          <p:cNvPr id="1026" name="Picture 2" descr="A picture containing text, screenshot, indoor&#10;&#10;Description automatically generated">
            <a:extLst>
              <a:ext uri="{FF2B5EF4-FFF2-40B4-BE49-F238E27FC236}">
                <a16:creationId xmlns:a16="http://schemas.microsoft.com/office/drawing/2014/main" id="{F6E45C8E-7742-45E9-B6A8-97F30706D8F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1160" y="1501916"/>
            <a:ext cx="10654153" cy="5261771"/>
          </a:xfrm>
          <a:prstGeom prst="rect">
            <a:avLst/>
          </a:prstGeom>
          <a:noFill/>
        </p:spPr>
      </p:pic>
    </p:spTree>
    <p:extLst>
      <p:ext uri="{BB962C8B-B14F-4D97-AF65-F5344CB8AC3E}">
        <p14:creationId xmlns:p14="http://schemas.microsoft.com/office/powerpoint/2010/main" val="49759766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A072106-27D5-4D8A-A3B5-79345B353D09}"/>
              </a:ext>
            </a:extLst>
          </p:cNvPr>
          <p:cNvPicPr>
            <a:picLocks noChangeAspect="1"/>
          </p:cNvPicPr>
          <p:nvPr/>
        </p:nvPicPr>
        <p:blipFill>
          <a:blip r:embed="rId3"/>
          <a:stretch>
            <a:fillRect/>
          </a:stretch>
        </p:blipFill>
        <p:spPr>
          <a:xfrm>
            <a:off x="458039" y="1135762"/>
            <a:ext cx="11097514" cy="2704845"/>
          </a:xfrm>
          <a:prstGeom prst="rect">
            <a:avLst/>
          </a:prstGeom>
        </p:spPr>
      </p:pic>
      <p:sp>
        <p:nvSpPr>
          <p:cNvPr id="2" name="Title 1"/>
          <p:cNvSpPr>
            <a:spLocks noGrp="1"/>
          </p:cNvSpPr>
          <p:nvPr>
            <p:ph type="title"/>
          </p:nvPr>
        </p:nvSpPr>
        <p:spPr/>
        <p:txBody>
          <a:bodyPr/>
          <a:lstStyle/>
          <a:p>
            <a:r>
              <a:rPr lang="en-US">
                <a:solidFill>
                  <a:srgbClr val="0078D7"/>
                </a:solidFill>
                <a:cs typeface="Segoe UI"/>
              </a:rPr>
              <a:t>The formula bar</a:t>
            </a:r>
          </a:p>
        </p:txBody>
      </p:sp>
      <p:sp>
        <p:nvSpPr>
          <p:cNvPr id="6" name="TextBox 5"/>
          <p:cNvSpPr txBox="1"/>
          <p:nvPr/>
        </p:nvSpPr>
        <p:spPr>
          <a:xfrm>
            <a:off x="884237" y="4008954"/>
            <a:ext cx="5402150" cy="647165"/>
          </a:xfrm>
          <a:prstGeom prst="rect">
            <a:avLst/>
          </a:prstGeom>
          <a:noFill/>
        </p:spPr>
        <p:txBody>
          <a:bodyPr wrap="none" lIns="186521" tIns="149217" rIns="186521" bIns="149217" rtlCol="0">
            <a:spAutoFit/>
          </a:bodyPr>
          <a:lstStyle/>
          <a:p>
            <a:pPr>
              <a:lnSpc>
                <a:spcPct val="90000"/>
              </a:lnSpc>
              <a:spcAft>
                <a:spcPts val="612"/>
              </a:spcAft>
            </a:pPr>
            <a:r>
              <a:rPr lang="en-US" sz="2448">
                <a:gradFill>
                  <a:gsLst>
                    <a:gs pos="2917">
                      <a:schemeClr val="tx1"/>
                    </a:gs>
                    <a:gs pos="30000">
                      <a:schemeClr val="tx1"/>
                    </a:gs>
                  </a:gsLst>
                  <a:lin ang="5400000" scaled="0"/>
                </a:gradFill>
              </a:rPr>
              <a:t>Choose the control/screen property</a:t>
            </a:r>
          </a:p>
        </p:txBody>
      </p:sp>
      <p:sp>
        <p:nvSpPr>
          <p:cNvPr id="7" name="TextBox 6"/>
          <p:cNvSpPr txBox="1"/>
          <p:nvPr/>
        </p:nvSpPr>
        <p:spPr>
          <a:xfrm>
            <a:off x="7643479" y="4105678"/>
            <a:ext cx="3703736" cy="647165"/>
          </a:xfrm>
          <a:prstGeom prst="rect">
            <a:avLst/>
          </a:prstGeom>
          <a:noFill/>
        </p:spPr>
        <p:txBody>
          <a:bodyPr wrap="none" lIns="186521" tIns="149217" rIns="186521" bIns="149217" rtlCol="0">
            <a:spAutoFit/>
          </a:bodyPr>
          <a:lstStyle/>
          <a:p>
            <a:pPr>
              <a:lnSpc>
                <a:spcPct val="90000"/>
              </a:lnSpc>
              <a:spcAft>
                <a:spcPts val="612"/>
              </a:spcAft>
            </a:pPr>
            <a:r>
              <a:rPr lang="en-US" sz="2448">
                <a:gradFill>
                  <a:gsLst>
                    <a:gs pos="2917">
                      <a:schemeClr val="tx1"/>
                    </a:gs>
                    <a:gs pos="30000">
                      <a:schemeClr val="tx1"/>
                    </a:gs>
                  </a:gsLst>
                  <a:lin ang="5400000" scaled="0"/>
                </a:gradFill>
              </a:rPr>
              <a:t>Control it with formulas</a:t>
            </a:r>
          </a:p>
        </p:txBody>
      </p:sp>
      <p:cxnSp>
        <p:nvCxnSpPr>
          <p:cNvPr id="8" name="Straight Arrow Connector 7"/>
          <p:cNvCxnSpPr>
            <a:cxnSpLocks/>
          </p:cNvCxnSpPr>
          <p:nvPr/>
        </p:nvCxnSpPr>
        <p:spPr>
          <a:xfrm flipH="1" flipV="1">
            <a:off x="2332037" y="2887662"/>
            <a:ext cx="1587844" cy="1283120"/>
          </a:xfrm>
          <a:prstGeom prst="straightConnector1">
            <a:avLst/>
          </a:prstGeom>
          <a:ln w="38100">
            <a:headEnd type="none"/>
            <a:tailEnd type="triangle"/>
          </a:ln>
        </p:spPr>
        <p:style>
          <a:lnRef idx="2">
            <a:schemeClr val="accent2"/>
          </a:lnRef>
          <a:fillRef idx="0">
            <a:schemeClr val="accent2"/>
          </a:fillRef>
          <a:effectRef idx="1">
            <a:schemeClr val="accent2"/>
          </a:effectRef>
          <a:fontRef idx="minor">
            <a:schemeClr val="tx1"/>
          </a:fontRef>
        </p:style>
      </p:cxnSp>
      <p:cxnSp>
        <p:nvCxnSpPr>
          <p:cNvPr id="13" name="Straight Arrow Connector 12">
            <a:extLst>
              <a:ext uri="{FF2B5EF4-FFF2-40B4-BE49-F238E27FC236}">
                <a16:creationId xmlns:a16="http://schemas.microsoft.com/office/drawing/2014/main" id="{785B7B2A-C578-4F0C-99CA-E7C176A74FC3}"/>
              </a:ext>
            </a:extLst>
          </p:cNvPr>
          <p:cNvCxnSpPr>
            <a:cxnSpLocks/>
          </p:cNvCxnSpPr>
          <p:nvPr/>
        </p:nvCxnSpPr>
        <p:spPr>
          <a:xfrm flipH="1" flipV="1">
            <a:off x="7602816" y="2855702"/>
            <a:ext cx="1587844" cy="1283120"/>
          </a:xfrm>
          <a:prstGeom prst="straightConnector1">
            <a:avLst/>
          </a:prstGeom>
          <a:ln w="38100">
            <a:headEnd type="none"/>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331470021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2C15F-95E3-481D-A0CF-AE6555E28DA2}"/>
              </a:ext>
            </a:extLst>
          </p:cNvPr>
          <p:cNvSpPr>
            <a:spLocks noGrp="1"/>
          </p:cNvSpPr>
          <p:nvPr>
            <p:ph type="title"/>
          </p:nvPr>
        </p:nvSpPr>
        <p:spPr/>
        <p:txBody>
          <a:bodyPr/>
          <a:lstStyle/>
          <a:p>
            <a:r>
              <a:rPr lang="en-US">
                <a:solidFill>
                  <a:srgbClr val="0078D7"/>
                </a:solidFill>
                <a:cs typeface="Segoe UI"/>
              </a:rPr>
              <a:t>SharePoint List as data repository </a:t>
            </a:r>
            <a:endParaRPr lang="en-US"/>
          </a:p>
        </p:txBody>
      </p:sp>
      <p:sp>
        <p:nvSpPr>
          <p:cNvPr id="5" name="Text Placeholder 4">
            <a:extLst>
              <a:ext uri="{FF2B5EF4-FFF2-40B4-BE49-F238E27FC236}">
                <a16:creationId xmlns:a16="http://schemas.microsoft.com/office/drawing/2014/main" id="{85009BE3-B1BD-4BF5-A2F8-829617D42196}"/>
              </a:ext>
            </a:extLst>
          </p:cNvPr>
          <p:cNvSpPr>
            <a:spLocks noGrp="1"/>
          </p:cNvSpPr>
          <p:nvPr>
            <p:ph type="body" sz="quarter" idx="10"/>
          </p:nvPr>
        </p:nvSpPr>
        <p:spPr>
          <a:xfrm>
            <a:off x="493077" y="1212849"/>
            <a:ext cx="5050647" cy="1423467"/>
          </a:xfrm>
        </p:spPr>
        <p:txBody>
          <a:bodyPr vert="horz" wrap="square" lIns="146304" tIns="91440" rIns="146304" bIns="91440" rtlCol="0" anchor="t">
            <a:spAutoFit/>
          </a:bodyPr>
          <a:lstStyle/>
          <a:p>
            <a:pPr marL="0" indent="0">
              <a:lnSpc>
                <a:spcPct val="120000"/>
              </a:lnSpc>
              <a:spcBef>
                <a:spcPts val="0"/>
              </a:spcBef>
              <a:spcAft>
                <a:spcPts val="300"/>
              </a:spcAft>
              <a:buNone/>
            </a:pPr>
            <a:endParaRPr lang="en-US" sz="3200">
              <a:cs typeface="Segoe UI Light"/>
            </a:endParaRPr>
          </a:p>
          <a:p>
            <a:endParaRPr lang="en-US"/>
          </a:p>
        </p:txBody>
      </p:sp>
      <p:graphicFrame>
        <p:nvGraphicFramePr>
          <p:cNvPr id="9" name="Diagram 9">
            <a:extLst>
              <a:ext uri="{FF2B5EF4-FFF2-40B4-BE49-F238E27FC236}">
                <a16:creationId xmlns:a16="http://schemas.microsoft.com/office/drawing/2014/main" id="{4CFFCDF6-8604-417C-AC47-50BE92CF91DA}"/>
              </a:ext>
            </a:extLst>
          </p:cNvPr>
          <p:cNvGraphicFramePr/>
          <p:nvPr>
            <p:extLst>
              <p:ext uri="{D42A27DB-BD31-4B8C-83A1-F6EECF244321}">
                <p14:modId xmlns:p14="http://schemas.microsoft.com/office/powerpoint/2010/main" val="1778693977"/>
              </p:ext>
            </p:extLst>
          </p:nvPr>
        </p:nvGraphicFramePr>
        <p:xfrm>
          <a:off x="572129" y="1209315"/>
          <a:ext cx="11292408" cy="55054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7837539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10A43045-C566-45CB-B535-5351D160656F}"/>
              </a:ext>
            </a:extLst>
          </p:cNvPr>
          <p:cNvSpPr txBox="1">
            <a:spLocks/>
          </p:cNvSpPr>
          <p:nvPr/>
        </p:nvSpPr>
        <p:spPr>
          <a:xfrm>
            <a:off x="1646237" y="403804"/>
            <a:ext cx="3733801" cy="2179058"/>
          </a:xfrm>
          <a:prstGeom prst="rect">
            <a:avLst/>
          </a:prstGeom>
        </p:spPr>
        <p:txBody>
          <a:bodyPr vert="horz" wrap="square" lIns="146304" tIns="91440" rIns="146304" bIns="91440" rtlCol="0" anchor="t">
            <a:spAutoFit/>
          </a:bodyPr>
          <a:lstStyle>
            <a:lvl1pPr algn="l" defTabSz="932742" rtl="0" eaLnBrk="1" latinLnBrk="0" hangingPunct="1">
              <a:lnSpc>
                <a:spcPct val="90000"/>
              </a:lnSpc>
              <a:spcBef>
                <a:spcPct val="0"/>
              </a:spcBef>
              <a:buNone/>
              <a:defRPr lang="en-US" sz="4800" b="0" kern="1200" cap="none" spc="-102" baseline="0">
                <a:ln w="3175">
                  <a:noFill/>
                </a:ln>
                <a:solidFill>
                  <a:schemeClr val="accent3"/>
                </a:solidFill>
                <a:effectLst/>
                <a:latin typeface="+mj-lt"/>
                <a:ea typeface="+mn-ea"/>
                <a:cs typeface="Segoe UI" pitchFamily="34" charset="0"/>
              </a:defRPr>
            </a:lvl1pPr>
          </a:lstStyle>
          <a:p>
            <a:r>
              <a:rPr lang="en-US"/>
              <a:t>Build a canvas app from blank</a:t>
            </a:r>
          </a:p>
        </p:txBody>
      </p:sp>
      <p:sp>
        <p:nvSpPr>
          <p:cNvPr id="10" name="Text Placeholder 4">
            <a:extLst>
              <a:ext uri="{FF2B5EF4-FFF2-40B4-BE49-F238E27FC236}">
                <a16:creationId xmlns:a16="http://schemas.microsoft.com/office/drawing/2014/main" id="{57D0DEBB-4EAB-411C-BF3B-19B442A31C0D}"/>
              </a:ext>
            </a:extLst>
          </p:cNvPr>
          <p:cNvSpPr txBox="1">
            <a:spLocks/>
          </p:cNvSpPr>
          <p:nvPr>
            <p:custDataLst>
              <p:tags r:id="rId1"/>
            </p:custDataLst>
          </p:nvPr>
        </p:nvSpPr>
        <p:spPr>
          <a:xfrm>
            <a:off x="457200" y="2628846"/>
            <a:ext cx="5486401" cy="4185761"/>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100000"/>
              </a:lnSpc>
              <a:spcBef>
                <a:spcPts val="0"/>
              </a:spcBef>
              <a:spcAft>
                <a:spcPts val="0"/>
              </a:spcAft>
              <a:buClrTx/>
              <a:buSzPct val="90000"/>
              <a:buFont typeface="Arial" pitchFamily="34" charset="0"/>
              <a:buChar char="•"/>
              <a:tabLst/>
              <a:defRPr lang="en-US" sz="3600" b="1" i="0" kern="1200" spc="0" baseline="0" dirty="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pitchFamily="34" charset="0"/>
              <a:buNone/>
            </a:pPr>
            <a:r>
              <a:rPr lang="en-US" sz="2000">
                <a:latin typeface="+mn-lt"/>
              </a:rPr>
              <a:t>Objectives</a:t>
            </a:r>
          </a:p>
          <a:p>
            <a:pPr>
              <a:buNone/>
            </a:pPr>
            <a:r>
              <a:rPr lang="en-US" sz="2000" b="0">
                <a:latin typeface="+mn-lt"/>
              </a:rPr>
              <a:t>In this lab, you will be able to: </a:t>
            </a:r>
          </a:p>
          <a:p>
            <a:pPr>
              <a:buNone/>
            </a:pPr>
            <a:r>
              <a:rPr lang="en-US" sz="2000" b="0">
                <a:latin typeface="+mn-lt"/>
              </a:rPr>
              <a:t>•	Sign into the Admin center</a:t>
            </a:r>
          </a:p>
          <a:p>
            <a:pPr>
              <a:buNone/>
            </a:pPr>
            <a:r>
              <a:rPr lang="en-US" sz="2000" b="0">
                <a:latin typeface="+mn-lt"/>
              </a:rPr>
              <a:t>•	Configure trial Power Apps per user (previously Plan 2)</a:t>
            </a:r>
          </a:p>
          <a:p>
            <a:r>
              <a:rPr lang="en-US" sz="2000" b="0">
                <a:latin typeface="+mn-lt"/>
              </a:rPr>
              <a:t>Create Power App canvas app from blank</a:t>
            </a:r>
          </a:p>
          <a:p>
            <a:pPr>
              <a:buNone/>
            </a:pPr>
            <a:r>
              <a:rPr lang="en-US" sz="2000" b="0">
                <a:latin typeface="+mn-lt"/>
              </a:rPr>
              <a:t>•	Create SharePoint site and list</a:t>
            </a:r>
          </a:p>
          <a:p>
            <a:pPr marL="0" indent="0">
              <a:buFont typeface="Arial" pitchFamily="34" charset="0"/>
              <a:buNone/>
            </a:pPr>
            <a:endParaRPr lang="en-US" sz="2000" b="0">
              <a:latin typeface="+mn-lt"/>
            </a:endParaRPr>
          </a:p>
          <a:p>
            <a:pPr marL="0" indent="0">
              <a:buFont typeface="Arial" pitchFamily="34" charset="0"/>
              <a:buNone/>
            </a:pPr>
            <a:r>
              <a:rPr lang="en-US" sz="2000">
                <a:latin typeface="+mn-lt"/>
              </a:rPr>
              <a:t>Scenario</a:t>
            </a:r>
          </a:p>
          <a:p>
            <a:pPr marL="0" indent="0">
              <a:buFont typeface="Arial" pitchFamily="34" charset="0"/>
              <a:buNone/>
            </a:pPr>
            <a:r>
              <a:rPr lang="en-US" sz="2000" b="0">
                <a:latin typeface="+mn-lt"/>
              </a:rPr>
              <a:t>The organization needs to replace legacy apps and has decided to onboard Power Apps as a platform. We will be learning how to create those apps as Citizen Developers.</a:t>
            </a:r>
          </a:p>
        </p:txBody>
      </p:sp>
    </p:spTree>
    <p:extLst>
      <p:ext uri="{BB962C8B-B14F-4D97-AF65-F5344CB8AC3E}">
        <p14:creationId xmlns:p14="http://schemas.microsoft.com/office/powerpoint/2010/main" val="132313110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65DB3F3-B1C0-4A47-B824-7B6D35D60263}"/>
              </a:ext>
            </a:extLst>
          </p:cNvPr>
          <p:cNvSpPr>
            <a:spLocks noGrp="1"/>
          </p:cNvSpPr>
          <p:nvPr>
            <p:ph type="body" sz="quarter" idx="10"/>
          </p:nvPr>
        </p:nvSpPr>
        <p:spPr>
          <a:xfrm>
            <a:off x="274320" y="1211262"/>
            <a:ext cx="11734800" cy="5059847"/>
          </a:xfrm>
        </p:spPr>
        <p:txBody>
          <a:bodyPr/>
          <a:lstStyle/>
          <a:p>
            <a:pPr marL="0" indent="0">
              <a:buNone/>
            </a:pPr>
            <a:r>
              <a:rPr lang="en-US"/>
              <a:t>1. Which layouts can you choose from?</a:t>
            </a:r>
          </a:p>
          <a:p>
            <a:pPr marL="0" indent="0">
              <a:buNone/>
            </a:pPr>
            <a:r>
              <a:rPr lang="en-US"/>
              <a:t>A. Phone or Tablet</a:t>
            </a:r>
          </a:p>
          <a:p>
            <a:pPr marL="0" indent="0">
              <a:buNone/>
            </a:pPr>
            <a:endParaRPr lang="en-US"/>
          </a:p>
          <a:p>
            <a:pPr marL="0" indent="0">
              <a:buNone/>
            </a:pPr>
            <a:r>
              <a:rPr lang="en-US"/>
              <a:t>2. Name </a:t>
            </a:r>
            <a:r>
              <a:rPr lang="en-US">
                <a:gradFill>
                  <a:gsLst>
                    <a:gs pos="1250">
                      <a:srgbClr val="505050"/>
                    </a:gs>
                    <a:gs pos="100000">
                      <a:srgbClr val="505050"/>
                    </a:gs>
                  </a:gsLst>
                  <a:lin ang="5400000" scaled="0"/>
                </a:gradFill>
              </a:rPr>
              <a:t>3 ways of creating new apps?</a:t>
            </a:r>
          </a:p>
          <a:p>
            <a:pPr marL="0" indent="0">
              <a:buNone/>
            </a:pPr>
            <a:r>
              <a:rPr lang="en-US">
                <a:gradFill>
                  <a:gsLst>
                    <a:gs pos="1250">
                      <a:srgbClr val="505050"/>
                    </a:gs>
                    <a:gs pos="100000">
                      <a:srgbClr val="505050"/>
                    </a:gs>
                  </a:gsLst>
                  <a:lin ang="5400000" scaled="0"/>
                </a:gradFill>
              </a:rPr>
              <a:t>A. Start from scratch (create from blank)</a:t>
            </a:r>
          </a:p>
          <a:p>
            <a:pPr lvl="1">
              <a:lnSpc>
                <a:spcPct val="120000"/>
              </a:lnSpc>
              <a:spcBef>
                <a:spcPts val="0"/>
              </a:spcBef>
            </a:pPr>
            <a:r>
              <a:rPr lang="en-US" sz="3600">
                <a:gradFill>
                  <a:gsLst>
                    <a:gs pos="1250">
                      <a:srgbClr val="505050"/>
                    </a:gs>
                    <a:gs pos="100000">
                      <a:srgbClr val="505050"/>
                    </a:gs>
                  </a:gsLst>
                  <a:lin ang="5400000" scaled="0"/>
                </a:gradFill>
                <a:latin typeface="+mj-lt"/>
              </a:rPr>
              <a:t>Start from data</a:t>
            </a:r>
          </a:p>
          <a:p>
            <a:pPr lvl="1">
              <a:lnSpc>
                <a:spcPct val="120000"/>
              </a:lnSpc>
              <a:spcBef>
                <a:spcPts val="0"/>
              </a:spcBef>
            </a:pPr>
            <a:r>
              <a:rPr lang="en-US" sz="3600">
                <a:gradFill>
                  <a:gsLst>
                    <a:gs pos="1250">
                      <a:srgbClr val="505050"/>
                    </a:gs>
                    <a:gs pos="100000">
                      <a:srgbClr val="505050"/>
                    </a:gs>
                  </a:gsLst>
                  <a:lin ang="5400000" scaled="0"/>
                </a:gradFill>
                <a:latin typeface="+mj-lt"/>
              </a:rPr>
              <a:t>Start from a template</a:t>
            </a:r>
          </a:p>
          <a:p>
            <a:endParaRPr lang="en-US"/>
          </a:p>
        </p:txBody>
      </p:sp>
    </p:spTree>
    <p:extLst>
      <p:ext uri="{BB962C8B-B14F-4D97-AF65-F5344CB8AC3E}">
        <p14:creationId xmlns:p14="http://schemas.microsoft.com/office/powerpoint/2010/main" val="11479573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3"/>
    </p:ext>
  </p:extLs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3236595-CAC9-445D-9666-E8C18A3531A2}"/>
              </a:ext>
            </a:extLst>
          </p:cNvPr>
          <p:cNvSpPr>
            <a:spLocks noGrp="1"/>
          </p:cNvSpPr>
          <p:nvPr>
            <p:ph type="body" sz="quarter" idx="10"/>
          </p:nvPr>
        </p:nvSpPr>
        <p:spPr>
          <a:xfrm>
            <a:off x="274320" y="1211262"/>
            <a:ext cx="11734800" cy="2511457"/>
          </a:xfrm>
        </p:spPr>
        <p:txBody>
          <a:bodyPr vert="horz" wrap="square" lIns="146304" tIns="91440" rIns="146304" bIns="91440" rtlCol="0" anchor="t">
            <a:spAutoFit/>
          </a:bodyPr>
          <a:lstStyle/>
          <a:p>
            <a:r>
              <a:rPr lang="en-US"/>
              <a:t>Overview of Power Apps</a:t>
            </a:r>
          </a:p>
          <a:p>
            <a:r>
              <a:rPr lang="en-US">
                <a:cs typeface="Segoe UI Light"/>
              </a:rPr>
              <a:t>Dataverse for Teams and PVA Overview</a:t>
            </a:r>
            <a:endParaRPr lang="en-US"/>
          </a:p>
          <a:p>
            <a:r>
              <a:rPr lang="en-US"/>
              <a:t>Administration overview </a:t>
            </a:r>
            <a:endParaRPr lang="en-US">
              <a:cs typeface="Segoe UI Light"/>
            </a:endParaRPr>
          </a:p>
          <a:p>
            <a:r>
              <a:rPr lang="en-US"/>
              <a:t>Fundamentals</a:t>
            </a:r>
            <a:endParaRPr lang="en-US">
              <a:cs typeface="Segoe UI Light"/>
            </a:endParaRPr>
          </a:p>
        </p:txBody>
      </p:sp>
    </p:spTree>
    <p:extLst>
      <p:ext uri="{BB962C8B-B14F-4D97-AF65-F5344CB8AC3E}">
        <p14:creationId xmlns:p14="http://schemas.microsoft.com/office/powerpoint/2010/main" val="3550844832"/>
      </p:ext>
    </p:extLst>
  </p:cSld>
  <p:clrMapOvr>
    <a:masterClrMapping/>
  </p:clrMapOvr>
  <p:transition>
    <p:fade/>
  </p:transition>
  <p:extLst>
    <p:ext uri="{6950BFC3-D8DA-4A85-94F7-54DA5524770B}">
      <p188:commentRel xmlns:p188="http://schemas.microsoft.com/office/powerpoint/2018/8/main" r:id="rId2"/>
    </p:ext>
  </p:extLs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188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7B2818-D4B6-49AF-BC6D-48A87C308A7A}"/>
              </a:ext>
            </a:extLst>
          </p:cNvPr>
          <p:cNvSpPr>
            <a:spLocks noGrp="1"/>
          </p:cNvSpPr>
          <p:nvPr>
            <p:ph type="body" sz="quarter" idx="10"/>
          </p:nvPr>
        </p:nvSpPr>
        <p:spPr>
          <a:xfrm>
            <a:off x="274638" y="1211255"/>
            <a:ext cx="11887200" cy="2511457"/>
          </a:xfrm>
        </p:spPr>
        <p:txBody>
          <a:bodyPr vert="horz" wrap="square" lIns="146304" tIns="91440" rIns="146304" bIns="91440" rtlCol="0" anchor="t">
            <a:spAutoFit/>
          </a:bodyPr>
          <a:lstStyle/>
          <a:p>
            <a:r>
              <a:rPr lang="en-US"/>
              <a:t>Overview of Power Apps</a:t>
            </a:r>
          </a:p>
          <a:p>
            <a:r>
              <a:rPr lang="en-US" err="1"/>
              <a:t>Dataverse</a:t>
            </a:r>
            <a:r>
              <a:rPr lang="en-US"/>
              <a:t> for Teams </a:t>
            </a:r>
            <a:endParaRPr lang="en-US">
              <a:cs typeface="Segoe UI Light"/>
            </a:endParaRPr>
          </a:p>
          <a:p>
            <a:r>
              <a:rPr lang="en-US"/>
              <a:t>Administration Overview </a:t>
            </a:r>
            <a:endParaRPr lang="en-US">
              <a:cs typeface="Segoe UI Light"/>
            </a:endParaRPr>
          </a:p>
          <a:p>
            <a:r>
              <a:rPr lang="en-US"/>
              <a:t>Fundamentals</a:t>
            </a:r>
            <a:endParaRPr lang="en-US">
              <a:cs typeface="Segoe UI Light"/>
            </a:endParaRPr>
          </a:p>
        </p:txBody>
      </p:sp>
    </p:spTree>
    <p:extLst>
      <p:ext uri="{BB962C8B-B14F-4D97-AF65-F5344CB8AC3E}">
        <p14:creationId xmlns:p14="http://schemas.microsoft.com/office/powerpoint/2010/main" val="2355728576"/>
      </p:ext>
    </p:extLst>
  </p:cSld>
  <p:clrMapOvr>
    <a:masterClrMapping/>
  </p:clrMapOvr>
  <p:transition>
    <p:fade/>
  </p:transition>
  <p:extLst>
    <p:ext uri="{6950BFC3-D8DA-4A85-94F7-54DA5524770B}">
      <p188:commentRel xmlns:p188="http://schemas.microsoft.com/office/powerpoint/2018/8/main" r:id="rId2"/>
    </p:ext>
  </p:extLs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2">
            <a:extLst>
              <a:ext uri="{FF2B5EF4-FFF2-40B4-BE49-F238E27FC236}">
                <a16:creationId xmlns:a16="http://schemas.microsoft.com/office/drawing/2014/main" id="{6F9EB9F2-07E2-4D64-BBD8-BB5B217F1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8012" y="326411"/>
            <a:ext cx="11780450" cy="6341702"/>
          </a:xfrm>
          <a:prstGeom prst="rect">
            <a:avLst/>
          </a:prstGeom>
          <a:solidFill>
            <a:schemeClr val="tx1">
              <a:alpha val="12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4B90FCF2-EECD-430D-9A80-C888748FFCE6}"/>
              </a:ext>
            </a:extLst>
          </p:cNvPr>
          <p:cNvSpPr>
            <a:spLocks noGrp="1"/>
          </p:cNvSpPr>
          <p:nvPr>
            <p:ph type="title"/>
          </p:nvPr>
        </p:nvSpPr>
        <p:spPr>
          <a:xfrm>
            <a:off x="4495553" y="1364536"/>
            <a:ext cx="6901752" cy="4265449"/>
          </a:xfrm>
        </p:spPr>
        <p:txBody>
          <a:bodyPr vert="horz" lIns="91440" tIns="45720" rIns="91440" bIns="45720" rtlCol="0" anchor="ctr">
            <a:normAutofit/>
          </a:bodyPr>
          <a:lstStyle/>
          <a:p>
            <a:pPr defTabSz="914400"/>
            <a:r>
              <a:rPr lang="en-US" sz="5500" kern="1200">
                <a:solidFill>
                  <a:schemeClr val="tx1">
                    <a:lumMod val="85000"/>
                    <a:lumOff val="15000"/>
                  </a:schemeClr>
                </a:solidFill>
                <a:latin typeface="+mj-lt"/>
                <a:ea typeface="+mj-ea"/>
                <a:cs typeface="+mj-cs"/>
              </a:rPr>
              <a:t>Power Apps</a:t>
            </a:r>
            <a:br>
              <a:rPr lang="en-US" sz="5500" kern="1200">
                <a:solidFill>
                  <a:schemeClr val="tx1">
                    <a:lumMod val="85000"/>
                    <a:lumOff val="15000"/>
                  </a:schemeClr>
                </a:solidFill>
                <a:latin typeface="+mj-lt"/>
                <a:ea typeface="+mj-ea"/>
                <a:cs typeface="+mj-cs"/>
              </a:rPr>
            </a:br>
            <a:r>
              <a:rPr lang="en-US" sz="5500" kern="1200">
                <a:solidFill>
                  <a:schemeClr val="tx1">
                    <a:lumMod val="85000"/>
                    <a:lumOff val="15000"/>
                  </a:schemeClr>
                </a:solidFill>
                <a:latin typeface="+mj-lt"/>
                <a:ea typeface="+mj-ea"/>
                <a:cs typeface="+mj-cs"/>
              </a:rPr>
              <a:t>Overview</a:t>
            </a:r>
            <a:br>
              <a:rPr lang="en-US" sz="5500" kern="1200">
                <a:solidFill>
                  <a:schemeClr val="tx1">
                    <a:lumMod val="85000"/>
                    <a:lumOff val="15000"/>
                  </a:schemeClr>
                </a:solidFill>
                <a:latin typeface="+mj-lt"/>
                <a:ea typeface="+mj-ea"/>
                <a:cs typeface="+mj-cs"/>
              </a:rPr>
            </a:br>
            <a:endParaRPr lang="en-US" sz="5500" kern="1200">
              <a:solidFill>
                <a:schemeClr val="tx1">
                  <a:lumMod val="85000"/>
                  <a:lumOff val="15000"/>
                </a:schemeClr>
              </a:solidFill>
              <a:latin typeface="+mj-lt"/>
              <a:ea typeface="+mj-ea"/>
              <a:cs typeface="+mj-cs"/>
            </a:endParaRPr>
          </a:p>
        </p:txBody>
      </p:sp>
      <p:cxnSp>
        <p:nvCxnSpPr>
          <p:cNvPr id="30" name="Straight Connector 24">
            <a:extLst>
              <a:ext uri="{FF2B5EF4-FFF2-40B4-BE49-F238E27FC236}">
                <a16:creationId xmlns:a16="http://schemas.microsoft.com/office/drawing/2014/main" id="{F0C57C7C-DFE9-4A1E-B7A9-DF40E63366B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137220" y="2098356"/>
            <a:ext cx="0" cy="279781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985486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1113561" y="2506800"/>
            <a:ext cx="2792890" cy="4052241"/>
            <a:chOff x="1079815" y="2506662"/>
            <a:chExt cx="2793286" cy="4052816"/>
          </a:xfrm>
        </p:grpSpPr>
        <p:sp>
          <p:nvSpPr>
            <p:cNvPr id="3" name="TextBox 2"/>
            <p:cNvSpPr txBox="1"/>
            <p:nvPr/>
          </p:nvSpPr>
          <p:spPr>
            <a:xfrm>
              <a:off x="1079815" y="5021263"/>
              <a:ext cx="2793286" cy="1538215"/>
            </a:xfrm>
            <a:prstGeom prst="rect">
              <a:avLst/>
            </a:prstGeom>
            <a:noFill/>
          </p:spPr>
          <p:txBody>
            <a:bodyPr wrap="square" rtlCol="0">
              <a:spAutoFit/>
            </a:bodyPr>
            <a:lstStyle/>
            <a:p>
              <a:pPr algn="ctr" defTabSz="932563">
                <a:defRPr/>
              </a:pPr>
              <a:r>
                <a:rPr lang="en-US" sz="2000" b="1">
                  <a:solidFill>
                    <a:prstClr val="black">
                      <a:lumMod val="85000"/>
                      <a:lumOff val="15000"/>
                    </a:prstClr>
                  </a:solidFill>
                  <a:latin typeface="Segoe UI Light" panose="020B0502040204020203" pitchFamily="34" charset="0"/>
                  <a:cs typeface="Segoe UI Light" panose="020B0502040204020203" pitchFamily="34" charset="0"/>
                </a:rPr>
                <a:t>Connect </a:t>
              </a:r>
              <a:r>
                <a:rPr lang="en-US" sz="2000">
                  <a:solidFill>
                    <a:prstClr val="black">
                      <a:lumMod val="85000"/>
                      <a:lumOff val="15000"/>
                    </a:prstClr>
                  </a:solidFill>
                  <a:latin typeface="Segoe UI Light" panose="020B0502040204020203" pitchFamily="34" charset="0"/>
                  <a:cs typeface="Segoe UI Light" panose="020B0502040204020203" pitchFamily="34" charset="0"/>
                </a:rPr>
                <a:t>to data &amp; systems you’re already using; Create the data you need.</a:t>
              </a:r>
              <a:br>
                <a:rPr lang="en-US">
                  <a:solidFill>
                    <a:prstClr val="black">
                      <a:lumMod val="85000"/>
                      <a:lumOff val="15000"/>
                    </a:prstClr>
                  </a:solidFill>
                  <a:latin typeface="Segoe UI Light" panose="020B0502040204020203" pitchFamily="34" charset="0"/>
                  <a:cs typeface="Segoe UI Light" panose="020B0502040204020203" pitchFamily="34" charset="0"/>
                </a:rPr>
              </a:br>
              <a:endParaRPr lang="en-US" sz="1199">
                <a:solidFill>
                  <a:prstClr val="black">
                    <a:lumMod val="85000"/>
                    <a:lumOff val="15000"/>
                  </a:prstClr>
                </a:solidFill>
                <a:latin typeface="Segoe UI Light" panose="020B0502040204020203" pitchFamily="34" charset="0"/>
                <a:cs typeface="Segoe UI Light" panose="020B0502040204020203" pitchFamily="34" charset="0"/>
              </a:endParaRPr>
            </a:p>
          </p:txBody>
        </p:sp>
        <p:pic>
          <p:nvPicPr>
            <p:cNvPr id="4" name="Picture 3"/>
            <p:cNvPicPr>
              <a:picLocks noChangeAspect="1"/>
            </p:cNvPicPr>
            <p:nvPr/>
          </p:nvPicPr>
          <p:blipFill rotWithShape="1">
            <a:blip r:embed="rId3">
              <a:clrChange>
                <a:clrFrom>
                  <a:srgbClr val="FFFFFF"/>
                </a:clrFrom>
                <a:clrTo>
                  <a:srgbClr val="FFFFFF">
                    <a:alpha val="0"/>
                  </a:srgbClr>
                </a:clrTo>
              </a:clrChange>
            </a:blip>
            <a:srcRect l="4083" r="70973" b="30713"/>
            <a:stretch/>
          </p:blipFill>
          <p:spPr>
            <a:xfrm>
              <a:off x="1079815" y="2506662"/>
              <a:ext cx="2793286" cy="2512441"/>
            </a:xfrm>
            <a:prstGeom prst="rect">
              <a:avLst/>
            </a:prstGeom>
          </p:spPr>
        </p:pic>
      </p:grpSp>
      <p:grpSp>
        <p:nvGrpSpPr>
          <p:cNvPr id="14" name="Group 13"/>
          <p:cNvGrpSpPr/>
          <p:nvPr/>
        </p:nvGrpSpPr>
        <p:grpSpPr>
          <a:xfrm>
            <a:off x="4679734" y="2506801"/>
            <a:ext cx="2833720" cy="3832641"/>
            <a:chOff x="4679515" y="2506661"/>
            <a:chExt cx="2834122" cy="3833185"/>
          </a:xfrm>
        </p:grpSpPr>
        <p:sp>
          <p:nvSpPr>
            <p:cNvPr id="5" name="TextBox 4"/>
            <p:cNvSpPr txBox="1"/>
            <p:nvPr/>
          </p:nvSpPr>
          <p:spPr>
            <a:xfrm>
              <a:off x="4679515" y="5021263"/>
              <a:ext cx="2834122" cy="1318583"/>
            </a:xfrm>
            <a:prstGeom prst="rect">
              <a:avLst/>
            </a:prstGeom>
            <a:noFill/>
          </p:spPr>
          <p:txBody>
            <a:bodyPr wrap="square" rtlCol="0">
              <a:spAutoFit/>
            </a:bodyPr>
            <a:lstStyle/>
            <a:p>
              <a:pPr algn="ctr" defTabSz="932563">
                <a:defRPr/>
              </a:pPr>
              <a:r>
                <a:rPr lang="en-US" sz="2000" b="1">
                  <a:solidFill>
                    <a:prstClr val="black">
                      <a:lumMod val="85000"/>
                      <a:lumOff val="15000"/>
                    </a:prstClr>
                  </a:solidFill>
                  <a:latin typeface="Segoe UI Light" panose="020B0502040204020203" pitchFamily="34" charset="0"/>
                  <a:cs typeface="Segoe UI Light" panose="020B0502040204020203" pitchFamily="34" charset="0"/>
                </a:rPr>
                <a:t>Create </a:t>
              </a:r>
              <a:r>
                <a:rPr lang="en-US" sz="2000">
                  <a:solidFill>
                    <a:prstClr val="black">
                      <a:lumMod val="85000"/>
                      <a:lumOff val="15000"/>
                    </a:prstClr>
                  </a:solidFill>
                  <a:latin typeface="Segoe UI Light" panose="020B0502040204020203" pitchFamily="34" charset="0"/>
                  <a:cs typeface="Segoe UI Light" panose="020B0502040204020203" pitchFamily="34" charset="0"/>
                </a:rPr>
                <a:t>apps, forms, and workflows without writing code.</a:t>
              </a:r>
              <a:br>
                <a:rPr lang="en-US">
                  <a:solidFill>
                    <a:prstClr val="black">
                      <a:lumMod val="85000"/>
                      <a:lumOff val="15000"/>
                    </a:prstClr>
                  </a:solidFill>
                  <a:latin typeface="Segoe UI Light" panose="020B0502040204020203" pitchFamily="34" charset="0"/>
                  <a:cs typeface="Segoe UI Light" panose="020B0502040204020203" pitchFamily="34" charset="0"/>
                </a:rPr>
              </a:br>
              <a:endParaRPr lang="en-US">
                <a:solidFill>
                  <a:prstClr val="black">
                    <a:lumMod val="85000"/>
                    <a:lumOff val="15000"/>
                  </a:prstClr>
                </a:solidFill>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rotWithShape="1">
            <a:blip r:embed="rId3">
              <a:clrChange>
                <a:clrFrom>
                  <a:srgbClr val="FFFFFF"/>
                </a:clrFrom>
                <a:clrTo>
                  <a:srgbClr val="FFFFFF">
                    <a:alpha val="0"/>
                  </a:srgbClr>
                </a:clrTo>
              </a:clrChange>
            </a:blip>
            <a:srcRect l="36624" r="38432" b="30713"/>
            <a:stretch/>
          </p:blipFill>
          <p:spPr>
            <a:xfrm>
              <a:off x="4720351" y="2506661"/>
              <a:ext cx="2793286" cy="2512441"/>
            </a:xfrm>
            <a:prstGeom prst="rect">
              <a:avLst/>
            </a:prstGeom>
          </p:spPr>
        </p:pic>
      </p:grpSp>
      <p:grpSp>
        <p:nvGrpSpPr>
          <p:cNvPr id="16" name="Group 15"/>
          <p:cNvGrpSpPr/>
          <p:nvPr/>
        </p:nvGrpSpPr>
        <p:grpSpPr>
          <a:xfrm>
            <a:off x="8319753" y="2506802"/>
            <a:ext cx="2792890" cy="3518737"/>
            <a:chOff x="8320051" y="2506660"/>
            <a:chExt cx="2793286" cy="3519236"/>
          </a:xfrm>
        </p:grpSpPr>
        <p:sp>
          <p:nvSpPr>
            <p:cNvPr id="6" name="TextBox 5"/>
            <p:cNvSpPr txBox="1"/>
            <p:nvPr/>
          </p:nvSpPr>
          <p:spPr>
            <a:xfrm>
              <a:off x="8566951" y="5021262"/>
              <a:ext cx="2299486" cy="1004634"/>
            </a:xfrm>
            <a:prstGeom prst="rect">
              <a:avLst/>
            </a:prstGeom>
            <a:noFill/>
          </p:spPr>
          <p:txBody>
            <a:bodyPr wrap="square" rtlCol="0">
              <a:spAutoFit/>
            </a:bodyPr>
            <a:lstStyle/>
            <a:p>
              <a:pPr algn="ctr" defTabSz="932563">
                <a:defRPr/>
              </a:pPr>
              <a:r>
                <a:rPr lang="en-US" sz="2000" b="1">
                  <a:solidFill>
                    <a:prstClr val="black">
                      <a:lumMod val="85000"/>
                      <a:lumOff val="15000"/>
                    </a:prstClr>
                  </a:solidFill>
                  <a:latin typeface="Segoe UI Light" panose="020B0502040204020203" pitchFamily="34" charset="0"/>
                  <a:cs typeface="Segoe UI Light" panose="020B0502040204020203" pitchFamily="34" charset="0"/>
                </a:rPr>
                <a:t>Use </a:t>
              </a:r>
              <a:r>
                <a:rPr lang="en-US" sz="2000">
                  <a:solidFill>
                    <a:prstClr val="black">
                      <a:lumMod val="85000"/>
                      <a:lumOff val="15000"/>
                    </a:prstClr>
                  </a:solidFill>
                  <a:latin typeface="Segoe UI Light" panose="020B0502040204020203" pitchFamily="34" charset="0"/>
                  <a:cs typeface="Segoe UI Light" panose="020B0502040204020203" pitchFamily="34" charset="0"/>
                </a:rPr>
                <a:t>apps on web and mobile.</a:t>
              </a:r>
              <a:br>
                <a:rPr lang="en-US">
                  <a:solidFill>
                    <a:prstClr val="black">
                      <a:lumMod val="85000"/>
                      <a:lumOff val="15000"/>
                    </a:prstClr>
                  </a:solidFill>
                  <a:latin typeface="Segoe UI Light" panose="020B0502040204020203" pitchFamily="34" charset="0"/>
                  <a:cs typeface="Segoe UI Light" panose="020B0502040204020203" pitchFamily="34" charset="0"/>
                </a:rPr>
              </a:br>
              <a:endParaRPr lang="en-US">
                <a:solidFill>
                  <a:prstClr val="black">
                    <a:lumMod val="85000"/>
                    <a:lumOff val="15000"/>
                  </a:prstClr>
                </a:solidFill>
                <a:latin typeface="Segoe UI Light" panose="020B0502040204020203" pitchFamily="34" charset="0"/>
                <a:cs typeface="Segoe UI Light" panose="020B0502040204020203" pitchFamily="34" charset="0"/>
              </a:endParaRPr>
            </a:p>
          </p:txBody>
        </p:sp>
        <p:pic>
          <p:nvPicPr>
            <p:cNvPr id="13" name="Picture 12"/>
            <p:cNvPicPr>
              <a:picLocks noChangeAspect="1"/>
            </p:cNvPicPr>
            <p:nvPr/>
          </p:nvPicPr>
          <p:blipFill rotWithShape="1">
            <a:blip r:embed="rId3">
              <a:clrChange>
                <a:clrFrom>
                  <a:srgbClr val="FFFFFF"/>
                </a:clrFrom>
                <a:clrTo>
                  <a:srgbClr val="FFFFFF">
                    <a:alpha val="0"/>
                  </a:srgbClr>
                </a:clrTo>
              </a:clrChange>
            </a:blip>
            <a:srcRect l="68769" r="6287" b="30713"/>
            <a:stretch/>
          </p:blipFill>
          <p:spPr>
            <a:xfrm>
              <a:off x="8320051" y="2506660"/>
              <a:ext cx="2793286" cy="2512441"/>
            </a:xfrm>
            <a:prstGeom prst="rect">
              <a:avLst/>
            </a:prstGeom>
          </p:spPr>
        </p:pic>
      </p:grpSp>
      <p:sp>
        <p:nvSpPr>
          <p:cNvPr id="17" name="TextBox 16">
            <a:extLst>
              <a:ext uri="{FF2B5EF4-FFF2-40B4-BE49-F238E27FC236}">
                <a16:creationId xmlns:a16="http://schemas.microsoft.com/office/drawing/2014/main" id="{977E58EE-870A-41BD-84B1-6CB592992463}"/>
              </a:ext>
            </a:extLst>
          </p:cNvPr>
          <p:cNvSpPr txBox="1"/>
          <p:nvPr/>
        </p:nvSpPr>
        <p:spPr>
          <a:xfrm>
            <a:off x="808804" y="906830"/>
            <a:ext cx="11143778" cy="1200329"/>
          </a:xfrm>
          <a:prstGeom prst="rect">
            <a:avLst/>
          </a:prstGeom>
          <a:noFill/>
        </p:spPr>
        <p:txBody>
          <a:bodyPr wrap="square" rtlCol="0">
            <a:spAutoFit/>
          </a:bodyPr>
          <a:lstStyle/>
          <a:p>
            <a:pPr algn="ctr" defTabSz="932239">
              <a:defRPr/>
            </a:pPr>
            <a:r>
              <a:rPr lang="en-US" sz="3600">
                <a:solidFill>
                  <a:srgbClr val="505050"/>
                </a:solidFill>
                <a:latin typeface="+mj-lt"/>
                <a:cs typeface="Segoe UI Semilight" panose="020B0402040204020203" pitchFamily="34" charset="0"/>
              </a:rPr>
              <a:t>Microsoft </a:t>
            </a:r>
            <a:r>
              <a:rPr lang="en-US" sz="3600" b="1">
                <a:solidFill>
                  <a:srgbClr val="505050"/>
                </a:solidFill>
                <a:latin typeface="+mj-lt"/>
                <a:cs typeface="Segoe UI Semilight" panose="020B0402040204020203" pitchFamily="34" charset="0"/>
              </a:rPr>
              <a:t>Power Apps</a:t>
            </a:r>
            <a:r>
              <a:rPr lang="en-US" sz="3600">
                <a:solidFill>
                  <a:srgbClr val="505050"/>
                </a:solidFill>
                <a:latin typeface="+mj-lt"/>
                <a:cs typeface="Segoe UI Semilight" panose="020B0402040204020203" pitchFamily="34" charset="0"/>
              </a:rPr>
              <a:t> helps </a:t>
            </a:r>
            <a:r>
              <a:rPr lang="en-US" sz="3600">
                <a:solidFill>
                  <a:prstClr val="black"/>
                </a:solidFill>
                <a:latin typeface="+mj-lt"/>
                <a:cs typeface="Segoe UI Semilight" panose="020B0402040204020203" pitchFamily="34" charset="0"/>
              </a:rPr>
              <a:t>business power-users</a:t>
            </a:r>
            <a:r>
              <a:rPr lang="en-US" sz="3600">
                <a:solidFill>
                  <a:srgbClr val="00BCF2"/>
                </a:solidFill>
                <a:latin typeface="+mj-lt"/>
                <a:cs typeface="Segoe UI Semilight" panose="020B0402040204020203" pitchFamily="34" charset="0"/>
              </a:rPr>
              <a:t> </a:t>
            </a:r>
            <a:r>
              <a:rPr lang="en-US" sz="3600">
                <a:solidFill>
                  <a:srgbClr val="505050"/>
                </a:solidFill>
                <a:latin typeface="+mj-lt"/>
                <a:cs typeface="Segoe UI Semilight" panose="020B0402040204020203" pitchFamily="34" charset="0"/>
              </a:rPr>
              <a:t>to create and use custom business apps across platforms.</a:t>
            </a:r>
          </a:p>
        </p:txBody>
      </p:sp>
    </p:spTree>
    <p:extLst>
      <p:ext uri="{BB962C8B-B14F-4D97-AF65-F5344CB8AC3E}">
        <p14:creationId xmlns:p14="http://schemas.microsoft.com/office/powerpoint/2010/main" val="2707495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500" fill="hold"/>
                                        <p:tgtEl>
                                          <p:spTgt spid="14"/>
                                        </p:tgtEl>
                                        <p:attrNameLst>
                                          <p:attrName>ppt_x</p:attrName>
                                        </p:attrNameLst>
                                      </p:cBhvr>
                                      <p:tavLst>
                                        <p:tav tm="0">
                                          <p:val>
                                            <p:strVal val="#ppt_x"/>
                                          </p:val>
                                        </p:tav>
                                        <p:tav tm="100000">
                                          <p:val>
                                            <p:strVal val="#ppt_x"/>
                                          </p:val>
                                        </p:tav>
                                      </p:tavLst>
                                    </p:anim>
                                    <p:anim calcmode="lin" valueType="num">
                                      <p:cBhvr additive="base">
                                        <p:cTn id="13" dur="500" fill="hold"/>
                                        <p:tgtEl>
                                          <p:spTgt spid="14"/>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16"/>
                                        </p:tgtEl>
                                        <p:attrNameLst>
                                          <p:attrName>style.visibility</p:attrName>
                                        </p:attrNameLst>
                                      </p:cBhvr>
                                      <p:to>
                                        <p:strVal val="visible"/>
                                      </p:to>
                                    </p:set>
                                    <p:anim calcmode="lin" valueType="num">
                                      <p:cBhvr additive="base">
                                        <p:cTn id="17" dur="500" fill="hold"/>
                                        <p:tgtEl>
                                          <p:spTgt spid="16"/>
                                        </p:tgtEl>
                                        <p:attrNameLst>
                                          <p:attrName>ppt_x</p:attrName>
                                        </p:attrNameLst>
                                      </p:cBhvr>
                                      <p:tavLst>
                                        <p:tav tm="0">
                                          <p:val>
                                            <p:strVal val="#ppt_x"/>
                                          </p:val>
                                        </p:tav>
                                        <p:tav tm="100000">
                                          <p:val>
                                            <p:strVal val="#ppt_x"/>
                                          </p:val>
                                        </p:tav>
                                      </p:tavLst>
                                    </p:anim>
                                    <p:anim calcmode="lin" valueType="num">
                                      <p:cBhvr additive="base">
                                        <p:cTn id="1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14643" t="21675" r="12959" b="22764"/>
          <a:stretch/>
        </p:blipFill>
        <p:spPr>
          <a:xfrm>
            <a:off x="3627805" y="681869"/>
            <a:ext cx="4799918" cy="5692926"/>
          </a:xfrm>
          <a:prstGeom prst="rect">
            <a:avLst/>
          </a:prstGeom>
        </p:spPr>
      </p:pic>
      <p:grpSp>
        <p:nvGrpSpPr>
          <p:cNvPr id="5" name="Group 4"/>
          <p:cNvGrpSpPr/>
          <p:nvPr/>
        </p:nvGrpSpPr>
        <p:grpSpPr>
          <a:xfrm>
            <a:off x="814713" y="4335462"/>
            <a:ext cx="2487228" cy="1938992"/>
            <a:chOff x="470973" y="2236257"/>
            <a:chExt cx="2487581" cy="1939268"/>
          </a:xfrm>
        </p:grpSpPr>
        <p:sp>
          <p:nvSpPr>
            <p:cNvPr id="6" name="Rectangle 5"/>
            <p:cNvSpPr/>
            <p:nvPr/>
          </p:nvSpPr>
          <p:spPr>
            <a:xfrm>
              <a:off x="470973" y="2236257"/>
              <a:ext cx="2487581" cy="1939268"/>
            </a:xfrm>
            <a:prstGeom prst="rect">
              <a:avLst/>
            </a:prstGeom>
          </p:spPr>
          <p:txBody>
            <a:bodyPr wrap="square">
              <a:spAutoFit/>
            </a:bodyPr>
            <a:lstStyle/>
            <a:p>
              <a:pPr algn="r"/>
              <a:r>
                <a:rPr lang="en-US" sz="2000" b="1">
                  <a:solidFill>
                    <a:schemeClr val="tx1">
                      <a:lumMod val="85000"/>
                      <a:lumOff val="15000"/>
                    </a:schemeClr>
                  </a:solidFill>
                  <a:latin typeface="Segoe UI Light" panose="020B0502040204020203" pitchFamily="34" charset="0"/>
                  <a:cs typeface="Segoe UI Light" panose="020B0502040204020203" pitchFamily="34" charset="0"/>
                </a:rPr>
                <a:t>Connections</a:t>
              </a:r>
              <a:br>
                <a:rPr lang="en-US" sz="2000">
                  <a:solidFill>
                    <a:schemeClr val="tx1">
                      <a:lumMod val="85000"/>
                      <a:lumOff val="15000"/>
                    </a:schemeClr>
                  </a:solidFill>
                  <a:latin typeface="Segoe UI Light" panose="020B0502040204020203" pitchFamily="34" charset="0"/>
                  <a:cs typeface="Segoe UI Light" panose="020B0502040204020203" pitchFamily="34" charset="0"/>
                </a:rPr>
              </a:br>
              <a:r>
                <a:rPr lang="en-US" sz="2000">
                  <a:solidFill>
                    <a:schemeClr val="tx1">
                      <a:lumMod val="85000"/>
                      <a:lumOff val="15000"/>
                    </a:schemeClr>
                  </a:solidFill>
                  <a:latin typeface="Segoe UI Light" panose="020B0502040204020203" pitchFamily="34" charset="0"/>
                  <a:cs typeface="Segoe UI Light" panose="020B0502040204020203" pitchFamily="34" charset="0"/>
                </a:rPr>
                <a:t>Build apps that interact with your data sources and respect their permissions.</a:t>
              </a:r>
            </a:p>
          </p:txBody>
        </p:sp>
        <p:sp>
          <p:nvSpPr>
            <p:cNvPr id="7" name="Line Callout 2 (Accent Bar) 6"/>
            <p:cNvSpPr/>
            <p:nvPr/>
          </p:nvSpPr>
          <p:spPr>
            <a:xfrm flipH="1">
              <a:off x="2874585" y="2346956"/>
              <a:ext cx="83967" cy="924818"/>
            </a:xfrm>
            <a:prstGeom prst="accentCallout2">
              <a:avLst>
                <a:gd name="adj1" fmla="val 18750"/>
                <a:gd name="adj2" fmla="val -8333"/>
                <a:gd name="adj3" fmla="val 18946"/>
                <a:gd name="adj4" fmla="val -327024"/>
                <a:gd name="adj5" fmla="val 61797"/>
                <a:gd name="adj6" fmla="val -783623"/>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p:cNvGrpSpPr/>
          <p:nvPr/>
        </p:nvGrpSpPr>
        <p:grpSpPr>
          <a:xfrm flipH="1">
            <a:off x="8961048" y="4868862"/>
            <a:ext cx="2971379" cy="1631216"/>
            <a:chOff x="-51373" y="2278062"/>
            <a:chExt cx="3009927" cy="1631448"/>
          </a:xfrm>
        </p:grpSpPr>
        <p:sp>
          <p:nvSpPr>
            <p:cNvPr id="17" name="Rectangle 16"/>
            <p:cNvSpPr/>
            <p:nvPr/>
          </p:nvSpPr>
          <p:spPr>
            <a:xfrm>
              <a:off x="-51373" y="2278062"/>
              <a:ext cx="3009927" cy="1631448"/>
            </a:xfrm>
            <a:prstGeom prst="rect">
              <a:avLst/>
            </a:prstGeom>
          </p:spPr>
          <p:txBody>
            <a:bodyPr wrap="square">
              <a:spAutoFit/>
            </a:bodyPr>
            <a:lstStyle/>
            <a:p>
              <a:r>
                <a:rPr lang="en-US" sz="2000" b="1">
                  <a:solidFill>
                    <a:schemeClr val="tx1">
                      <a:lumMod val="85000"/>
                      <a:lumOff val="15000"/>
                    </a:schemeClr>
                  </a:solidFill>
                  <a:latin typeface="Segoe UI Light" panose="020B0502040204020203" pitchFamily="34" charset="0"/>
                  <a:cs typeface="Segoe UI Light" panose="020B0502040204020203" pitchFamily="34" charset="0"/>
                </a:rPr>
                <a:t>Your data</a:t>
              </a:r>
              <a:br>
                <a:rPr lang="en-US" sz="2000">
                  <a:solidFill>
                    <a:schemeClr val="tx1">
                      <a:lumMod val="85000"/>
                      <a:lumOff val="15000"/>
                    </a:schemeClr>
                  </a:solidFill>
                  <a:latin typeface="Segoe UI Light" panose="020B0502040204020203" pitchFamily="34" charset="0"/>
                  <a:cs typeface="Segoe UI Light" panose="020B0502040204020203" pitchFamily="34" charset="0"/>
                </a:rPr>
              </a:br>
              <a:r>
                <a:rPr lang="en-US" sz="2000">
                  <a:solidFill>
                    <a:schemeClr val="tx1">
                      <a:lumMod val="85000"/>
                      <a:lumOff val="15000"/>
                    </a:schemeClr>
                  </a:solidFill>
                  <a:latin typeface="Segoe UI Light" panose="020B0502040204020203" pitchFamily="34" charset="0"/>
                  <a:cs typeface="Segoe UI Light" panose="020B0502040204020203" pitchFamily="34" charset="0"/>
                </a:rPr>
                <a:t>Power Apps connects to a range of data sources and systems, including custom APIs.</a:t>
              </a:r>
            </a:p>
          </p:txBody>
        </p:sp>
        <p:sp>
          <p:nvSpPr>
            <p:cNvPr id="18" name="Line Callout 2 (Accent Bar) 17"/>
            <p:cNvSpPr/>
            <p:nvPr/>
          </p:nvSpPr>
          <p:spPr>
            <a:xfrm flipH="1">
              <a:off x="2798214" y="2388656"/>
              <a:ext cx="160340" cy="880005"/>
            </a:xfrm>
            <a:prstGeom prst="accentCallout2">
              <a:avLst>
                <a:gd name="adj1" fmla="val 20972"/>
                <a:gd name="adj2" fmla="val 1880"/>
                <a:gd name="adj3" fmla="val 20824"/>
                <a:gd name="adj4" fmla="val -224795"/>
                <a:gd name="adj5" fmla="val 60865"/>
                <a:gd name="adj6" fmla="val -372596"/>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 name="Group 18"/>
          <p:cNvGrpSpPr/>
          <p:nvPr/>
        </p:nvGrpSpPr>
        <p:grpSpPr>
          <a:xfrm flipH="1">
            <a:off x="8961049" y="2963862"/>
            <a:ext cx="2666621" cy="1631216"/>
            <a:chOff x="257338" y="2278062"/>
            <a:chExt cx="2701216" cy="1631448"/>
          </a:xfrm>
        </p:grpSpPr>
        <p:sp>
          <p:nvSpPr>
            <p:cNvPr id="20" name="Rectangle 19"/>
            <p:cNvSpPr/>
            <p:nvPr/>
          </p:nvSpPr>
          <p:spPr>
            <a:xfrm>
              <a:off x="257338" y="2278062"/>
              <a:ext cx="2701216" cy="1631448"/>
            </a:xfrm>
            <a:prstGeom prst="rect">
              <a:avLst/>
            </a:prstGeom>
          </p:spPr>
          <p:txBody>
            <a:bodyPr wrap="square">
              <a:spAutoFit/>
            </a:bodyPr>
            <a:lstStyle/>
            <a:p>
              <a:r>
                <a:rPr lang="en-US" sz="2000" b="1">
                  <a:solidFill>
                    <a:schemeClr val="tx1">
                      <a:lumMod val="85000"/>
                      <a:lumOff val="15000"/>
                    </a:schemeClr>
                  </a:solidFill>
                  <a:latin typeface="Segoe UI Light" panose="020B0502040204020203" pitchFamily="34" charset="0"/>
                  <a:cs typeface="Segoe UI Light" panose="020B0502040204020203" pitchFamily="34" charset="0"/>
                </a:rPr>
                <a:t>Create in Power Apps Studio</a:t>
              </a:r>
              <a:br>
                <a:rPr lang="en-US" sz="2000" b="1">
                  <a:solidFill>
                    <a:schemeClr val="tx1">
                      <a:lumMod val="85000"/>
                      <a:lumOff val="15000"/>
                    </a:schemeClr>
                  </a:solidFill>
                  <a:latin typeface="Segoe UI Light" panose="020B0502040204020203" pitchFamily="34" charset="0"/>
                  <a:cs typeface="Segoe UI Light" panose="020B0502040204020203" pitchFamily="34" charset="0"/>
                </a:rPr>
              </a:br>
              <a:r>
                <a:rPr lang="en-US" sz="2000">
                  <a:solidFill>
                    <a:schemeClr val="tx1">
                      <a:lumMod val="85000"/>
                      <a:lumOff val="15000"/>
                    </a:schemeClr>
                  </a:solidFill>
                  <a:latin typeface="Segoe UI Light" panose="020B0502040204020203" pitchFamily="34" charset="0"/>
                  <a:cs typeface="Segoe UI Light" panose="020B0502040204020203" pitchFamily="34" charset="0"/>
                </a:rPr>
                <a:t>Build apps in a visual experience that shows exactly what you’ll get.</a:t>
              </a:r>
            </a:p>
          </p:txBody>
        </p:sp>
        <p:sp>
          <p:nvSpPr>
            <p:cNvPr id="21" name="Line Callout 2 (Accent Bar) 20"/>
            <p:cNvSpPr/>
            <p:nvPr/>
          </p:nvSpPr>
          <p:spPr>
            <a:xfrm flipH="1">
              <a:off x="2798211" y="2388656"/>
              <a:ext cx="160339" cy="880005"/>
            </a:xfrm>
            <a:prstGeom prst="accentCallout2">
              <a:avLst>
                <a:gd name="adj1" fmla="val 20972"/>
                <a:gd name="adj2" fmla="val 1880"/>
                <a:gd name="adj3" fmla="val 20824"/>
                <a:gd name="adj4" fmla="val -224795"/>
                <a:gd name="adj5" fmla="val 60865"/>
                <a:gd name="adj6" fmla="val -372596"/>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2" name="Group 21"/>
          <p:cNvGrpSpPr/>
          <p:nvPr/>
        </p:nvGrpSpPr>
        <p:grpSpPr>
          <a:xfrm>
            <a:off x="648658" y="2278062"/>
            <a:ext cx="2653284" cy="1631216"/>
            <a:chOff x="304895" y="2236257"/>
            <a:chExt cx="2653660" cy="1631448"/>
          </a:xfrm>
        </p:grpSpPr>
        <p:sp>
          <p:nvSpPr>
            <p:cNvPr id="23" name="Rectangle 22"/>
            <p:cNvSpPr/>
            <p:nvPr/>
          </p:nvSpPr>
          <p:spPr>
            <a:xfrm>
              <a:off x="304895" y="2236257"/>
              <a:ext cx="2653659" cy="1631448"/>
            </a:xfrm>
            <a:prstGeom prst="rect">
              <a:avLst/>
            </a:prstGeom>
          </p:spPr>
          <p:txBody>
            <a:bodyPr wrap="square">
              <a:spAutoFit/>
            </a:bodyPr>
            <a:lstStyle/>
            <a:p>
              <a:pPr algn="r"/>
              <a:r>
                <a:rPr lang="en-US" sz="2000" b="1">
                  <a:solidFill>
                    <a:schemeClr val="tx1">
                      <a:lumMod val="85000"/>
                      <a:lumOff val="15000"/>
                    </a:schemeClr>
                  </a:solidFill>
                  <a:latin typeface="Segoe UI Light" panose="020B0502040204020203" pitchFamily="34" charset="0"/>
                  <a:cs typeface="Segoe UI Light" panose="020B0502040204020203" pitchFamily="34" charset="0"/>
                </a:rPr>
                <a:t>Power Apps Cloud</a:t>
              </a:r>
              <a:br>
                <a:rPr lang="en-US" sz="2000">
                  <a:solidFill>
                    <a:schemeClr val="tx1">
                      <a:lumMod val="85000"/>
                      <a:lumOff val="15000"/>
                    </a:schemeClr>
                  </a:solidFill>
                  <a:latin typeface="Segoe UI Light" panose="020B0502040204020203" pitchFamily="34" charset="0"/>
                  <a:cs typeface="Segoe UI Light" panose="020B0502040204020203" pitchFamily="34" charset="0"/>
                </a:rPr>
              </a:br>
              <a:r>
                <a:rPr lang="en-US" sz="2000">
                  <a:solidFill>
                    <a:schemeClr val="tx1">
                      <a:lumMod val="85000"/>
                      <a:lumOff val="15000"/>
                    </a:schemeClr>
                  </a:solidFill>
                  <a:latin typeface="Segoe UI Light" panose="020B0502040204020203" pitchFamily="34" charset="0"/>
                  <a:cs typeface="Segoe UI Light" panose="020B0502040204020203" pitchFamily="34" charset="0"/>
                </a:rPr>
                <a:t>Publish apps to people in your organization so they can access anywhere.</a:t>
              </a:r>
            </a:p>
          </p:txBody>
        </p:sp>
        <p:sp>
          <p:nvSpPr>
            <p:cNvPr id="24" name="Line Callout 2 (Accent Bar) 23"/>
            <p:cNvSpPr/>
            <p:nvPr/>
          </p:nvSpPr>
          <p:spPr>
            <a:xfrm flipH="1">
              <a:off x="2874585" y="2347060"/>
              <a:ext cx="83970" cy="796603"/>
            </a:xfrm>
            <a:prstGeom prst="accentCallout2">
              <a:avLst>
                <a:gd name="adj1" fmla="val 18750"/>
                <a:gd name="adj2" fmla="val -8333"/>
                <a:gd name="adj3" fmla="val 17736"/>
                <a:gd name="adj4" fmla="val -296775"/>
                <a:gd name="adj5" fmla="val 80107"/>
                <a:gd name="adj6" fmla="val -682791"/>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5" name="Group 24"/>
          <p:cNvGrpSpPr/>
          <p:nvPr/>
        </p:nvGrpSpPr>
        <p:grpSpPr>
          <a:xfrm flipH="1">
            <a:off x="8930885" y="883746"/>
            <a:ext cx="2760135" cy="1938992"/>
            <a:chOff x="162612" y="2278062"/>
            <a:chExt cx="2795942" cy="1939268"/>
          </a:xfrm>
        </p:grpSpPr>
        <p:sp>
          <p:nvSpPr>
            <p:cNvPr id="26" name="Rectangle 25"/>
            <p:cNvSpPr/>
            <p:nvPr/>
          </p:nvSpPr>
          <p:spPr>
            <a:xfrm>
              <a:off x="162612" y="2278062"/>
              <a:ext cx="2795942" cy="1939268"/>
            </a:xfrm>
            <a:prstGeom prst="rect">
              <a:avLst/>
            </a:prstGeom>
          </p:spPr>
          <p:txBody>
            <a:bodyPr wrap="square">
              <a:spAutoFit/>
            </a:bodyPr>
            <a:lstStyle/>
            <a:p>
              <a:r>
                <a:rPr lang="en-US" sz="2000" b="1">
                  <a:solidFill>
                    <a:schemeClr val="tx1">
                      <a:lumMod val="85000"/>
                      <a:lumOff val="15000"/>
                    </a:schemeClr>
                  </a:solidFill>
                  <a:latin typeface="Segoe UI Light" panose="020B0502040204020203" pitchFamily="34" charset="0"/>
                  <a:cs typeface="Segoe UI Light" panose="020B0502040204020203" pitchFamily="34" charset="0"/>
                </a:rPr>
                <a:t>Use on web and mobile</a:t>
              </a:r>
              <a:br>
                <a:rPr lang="en-US" sz="2000">
                  <a:solidFill>
                    <a:schemeClr val="tx1">
                      <a:lumMod val="85000"/>
                      <a:lumOff val="15000"/>
                    </a:schemeClr>
                  </a:solidFill>
                  <a:latin typeface="Segoe UI Light" panose="020B0502040204020203" pitchFamily="34" charset="0"/>
                  <a:cs typeface="Segoe UI Light" panose="020B0502040204020203" pitchFamily="34" charset="0"/>
                </a:rPr>
              </a:br>
              <a:r>
                <a:rPr lang="en-US" sz="2000">
                  <a:solidFill>
                    <a:schemeClr val="tx1">
                      <a:lumMod val="85000"/>
                      <a:lumOff val="15000"/>
                    </a:schemeClr>
                  </a:solidFill>
                  <a:latin typeface="Segoe UI Light" panose="020B0502040204020203" pitchFamily="34" charset="0"/>
                  <a:cs typeface="Segoe UI Light" panose="020B0502040204020203" pitchFamily="34" charset="0"/>
                </a:rPr>
                <a:t>Find and use apps instantly on the web and in Power Apps mobile for iOS and Android.</a:t>
              </a:r>
            </a:p>
          </p:txBody>
        </p:sp>
        <p:sp>
          <p:nvSpPr>
            <p:cNvPr id="27" name="Line Callout 2 (Accent Bar) 26"/>
            <p:cNvSpPr/>
            <p:nvPr/>
          </p:nvSpPr>
          <p:spPr>
            <a:xfrm flipH="1">
              <a:off x="2798214" y="2388656"/>
              <a:ext cx="160340" cy="880005"/>
            </a:xfrm>
            <a:prstGeom prst="accentCallout2">
              <a:avLst>
                <a:gd name="adj1" fmla="val 20972"/>
                <a:gd name="adj2" fmla="val 1880"/>
                <a:gd name="adj3" fmla="val 20824"/>
                <a:gd name="adj4" fmla="val -224795"/>
                <a:gd name="adj5" fmla="val 60865"/>
                <a:gd name="adj6" fmla="val -372596"/>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397773D6-C87F-458F-A31A-A80110C62403}"/>
              </a:ext>
            </a:extLst>
          </p:cNvPr>
          <p:cNvSpPr>
            <a:spLocks noGrp="1"/>
          </p:cNvSpPr>
          <p:nvPr>
            <p:ph type="title"/>
          </p:nvPr>
        </p:nvSpPr>
        <p:spPr/>
        <p:txBody>
          <a:bodyPr/>
          <a:lstStyle/>
          <a:p>
            <a:r>
              <a:rPr lang="en-US"/>
              <a:t>How it works</a:t>
            </a:r>
          </a:p>
        </p:txBody>
      </p:sp>
    </p:spTree>
    <p:extLst>
      <p:ext uri="{BB962C8B-B14F-4D97-AF65-F5344CB8AC3E}">
        <p14:creationId xmlns:p14="http://schemas.microsoft.com/office/powerpoint/2010/main" val="23103072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50"/>
                                  </p:stCondLst>
                                  <p:childTnLst>
                                    <p:set>
                                      <p:cBhvr>
                                        <p:cTn id="6" dur="1" fill="hold">
                                          <p:stCondLst>
                                            <p:cond delay="0"/>
                                          </p:stCondLst>
                                        </p:cTn>
                                        <p:tgtEl>
                                          <p:spTgt spid="5"/>
                                        </p:tgtEl>
                                        <p:attrNameLst>
                                          <p:attrName>style.visibility</p:attrName>
                                        </p:attrNameLst>
                                      </p:cBhvr>
                                      <p:to>
                                        <p:strVal val="visible"/>
                                      </p:to>
                                    </p:set>
                                  </p:childTnLst>
                                </p:cTn>
                              </p:par>
                            </p:childTnLst>
                          </p:cTn>
                        </p:par>
                        <p:par>
                          <p:cTn id="7" fill="hold">
                            <p:stCondLst>
                              <p:cond delay="250"/>
                            </p:stCondLst>
                            <p:childTnLst>
                              <p:par>
                                <p:cTn id="8" presetID="1" presetClass="entr" presetSubtype="0" fill="hold" nodeType="afterEffect">
                                  <p:stCondLst>
                                    <p:cond delay="250"/>
                                  </p:stCondLst>
                                  <p:childTnLst>
                                    <p:set>
                                      <p:cBhvr>
                                        <p:cTn id="9" dur="1" fill="hold">
                                          <p:stCondLst>
                                            <p:cond delay="0"/>
                                          </p:stCondLst>
                                        </p:cTn>
                                        <p:tgtEl>
                                          <p:spTgt spid="16"/>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nodeType="afterEffect">
                                  <p:stCondLst>
                                    <p:cond delay="250"/>
                                  </p:stCondLst>
                                  <p:childTnLst>
                                    <p:set>
                                      <p:cBhvr>
                                        <p:cTn id="12" dur="1" fill="hold">
                                          <p:stCondLst>
                                            <p:cond delay="0"/>
                                          </p:stCondLst>
                                        </p:cTn>
                                        <p:tgtEl>
                                          <p:spTgt spid="19"/>
                                        </p:tgtEl>
                                        <p:attrNameLst>
                                          <p:attrName>style.visibility</p:attrName>
                                        </p:attrNameLst>
                                      </p:cBhvr>
                                      <p:to>
                                        <p:strVal val="visible"/>
                                      </p:to>
                                    </p:set>
                                  </p:childTnLst>
                                </p:cTn>
                              </p:par>
                            </p:childTnLst>
                          </p:cTn>
                        </p:par>
                        <p:par>
                          <p:cTn id="13" fill="hold">
                            <p:stCondLst>
                              <p:cond delay="750"/>
                            </p:stCondLst>
                            <p:childTnLst>
                              <p:par>
                                <p:cTn id="14" presetID="1" presetClass="entr" presetSubtype="0" fill="hold" nodeType="afterEffect">
                                  <p:stCondLst>
                                    <p:cond delay="250"/>
                                  </p:stCondLst>
                                  <p:childTnLst>
                                    <p:set>
                                      <p:cBhvr>
                                        <p:cTn id="15" dur="1" fill="hold">
                                          <p:stCondLst>
                                            <p:cond delay="0"/>
                                          </p:stCondLst>
                                        </p:cTn>
                                        <p:tgtEl>
                                          <p:spTgt spid="22"/>
                                        </p:tgtEl>
                                        <p:attrNameLst>
                                          <p:attrName>style.visibility</p:attrName>
                                        </p:attrNameLst>
                                      </p:cBhvr>
                                      <p:to>
                                        <p:strVal val="visible"/>
                                      </p:to>
                                    </p:set>
                                  </p:childTnLst>
                                </p:cTn>
                              </p:par>
                            </p:childTnLst>
                          </p:cTn>
                        </p:par>
                        <p:par>
                          <p:cTn id="16" fill="hold">
                            <p:stCondLst>
                              <p:cond delay="1000"/>
                            </p:stCondLst>
                            <p:childTnLst>
                              <p:par>
                                <p:cTn id="17" presetID="1" presetClass="entr" presetSubtype="0" fill="hold" nodeType="afterEffect">
                                  <p:stCondLst>
                                    <p:cond delay="25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2">
            <a:extLst>
              <a:ext uri="{FF2B5EF4-FFF2-40B4-BE49-F238E27FC236}">
                <a16:creationId xmlns:a16="http://schemas.microsoft.com/office/drawing/2014/main" id="{6F9EB9F2-07E2-4D64-BBD8-BB5B217F1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8012" y="326411"/>
            <a:ext cx="11780450" cy="6341702"/>
          </a:xfrm>
          <a:prstGeom prst="rect">
            <a:avLst/>
          </a:prstGeom>
          <a:solidFill>
            <a:schemeClr val="tx1">
              <a:alpha val="12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4B90FCF2-EECD-430D-9A80-C888748FFCE6}"/>
              </a:ext>
            </a:extLst>
          </p:cNvPr>
          <p:cNvSpPr>
            <a:spLocks noGrp="1"/>
          </p:cNvSpPr>
          <p:nvPr>
            <p:ph type="title"/>
          </p:nvPr>
        </p:nvSpPr>
        <p:spPr>
          <a:xfrm>
            <a:off x="4388411" y="2430462"/>
            <a:ext cx="6901752" cy="1979449"/>
          </a:xfrm>
        </p:spPr>
        <p:txBody>
          <a:bodyPr vert="horz" lIns="91440" tIns="45720" rIns="91440" bIns="45720" rtlCol="0" anchor="ctr">
            <a:normAutofit/>
          </a:bodyPr>
          <a:lstStyle/>
          <a:p>
            <a:pPr defTabSz="914400"/>
            <a:r>
              <a:rPr lang="en-US" sz="5500" err="1">
                <a:solidFill>
                  <a:schemeClr val="tx1">
                    <a:lumMod val="85000"/>
                    <a:lumOff val="15000"/>
                  </a:schemeClr>
                </a:solidFill>
                <a:ea typeface="+mj-ea"/>
                <a:cs typeface="+mj-cs"/>
              </a:rPr>
              <a:t>Dataverse</a:t>
            </a:r>
            <a:r>
              <a:rPr lang="en-US" sz="5500">
                <a:solidFill>
                  <a:schemeClr val="tx1">
                    <a:lumMod val="85000"/>
                    <a:lumOff val="15000"/>
                  </a:schemeClr>
                </a:solidFill>
                <a:ea typeface="+mj-ea"/>
                <a:cs typeface="+mj-cs"/>
              </a:rPr>
              <a:t> for Teams</a:t>
            </a:r>
            <a:endParaRPr lang="en-US" sz="5500" kern="1200">
              <a:solidFill>
                <a:schemeClr val="tx1">
                  <a:lumMod val="85000"/>
                  <a:lumOff val="15000"/>
                </a:schemeClr>
              </a:solidFill>
              <a:latin typeface="+mj-lt"/>
              <a:ea typeface="+mj-ea"/>
              <a:cs typeface="+mj-cs"/>
            </a:endParaRPr>
          </a:p>
        </p:txBody>
      </p:sp>
      <p:cxnSp>
        <p:nvCxnSpPr>
          <p:cNvPr id="30" name="Straight Connector 24">
            <a:extLst>
              <a:ext uri="{FF2B5EF4-FFF2-40B4-BE49-F238E27FC236}">
                <a16:creationId xmlns:a16="http://schemas.microsoft.com/office/drawing/2014/main" id="{F0C57C7C-DFE9-4A1E-B7A9-DF40E63366B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137220" y="2098356"/>
            <a:ext cx="0" cy="279781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42895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E68E6-0B82-4446-870D-655DDBC074CD}"/>
              </a:ext>
            </a:extLst>
          </p:cNvPr>
          <p:cNvSpPr>
            <a:spLocks noGrp="1"/>
          </p:cNvSpPr>
          <p:nvPr>
            <p:ph type="title"/>
          </p:nvPr>
        </p:nvSpPr>
        <p:spPr/>
        <p:txBody>
          <a:bodyPr/>
          <a:lstStyle/>
          <a:p>
            <a:r>
              <a:rPr lang="en-US"/>
              <a:t>What is it?</a:t>
            </a:r>
          </a:p>
        </p:txBody>
      </p:sp>
      <p:pic>
        <p:nvPicPr>
          <p:cNvPr id="1026" name="Picture 2" descr="Project Oakdale table in Teams">
            <a:extLst>
              <a:ext uri="{FF2B5EF4-FFF2-40B4-BE49-F238E27FC236}">
                <a16:creationId xmlns:a16="http://schemas.microsoft.com/office/drawing/2014/main" id="{7762D949-14AC-4356-9B8F-5BCB503356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13237" y="1948431"/>
            <a:ext cx="7077074" cy="39819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Diagram 2">
            <a:extLst>
              <a:ext uri="{FF2B5EF4-FFF2-40B4-BE49-F238E27FC236}">
                <a16:creationId xmlns:a16="http://schemas.microsoft.com/office/drawing/2014/main" id="{A610A98E-9C86-4D2F-B42F-B15BA871A93A}"/>
              </a:ext>
            </a:extLst>
          </p:cNvPr>
          <p:cNvGraphicFramePr/>
          <p:nvPr>
            <p:extLst>
              <p:ext uri="{D42A27DB-BD31-4B8C-83A1-F6EECF244321}">
                <p14:modId xmlns:p14="http://schemas.microsoft.com/office/powerpoint/2010/main" val="3466943596"/>
              </p:ext>
            </p:extLst>
          </p:nvPr>
        </p:nvGraphicFramePr>
        <p:xfrm>
          <a:off x="483359" y="1363662"/>
          <a:ext cx="3307291" cy="51514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16742575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55a10cb0-526b-427f-b329-564b9d813585"/>
  <p:tag name="MIO_EKGUID" val="16198fbd-a8ef-4b10-90b5-600ff933c912"/>
  <p:tag name="MIO_UPDATE" val="True"/>
  <p:tag name="MIO_VERSION" val="30.03.2020 15:44:05"/>
  <p:tag name="MIO_DBID" val="12b0c59e-2253-4124-a5e9-470adf4cb168"/>
  <p:tag name="MIO_LASTDOWNLOADED" val="30.03.2020 15:44:51"/>
  <p:tag name="MIO_OBJECTNAME" val="Disclaimer"/>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 example" id="{1C3926DE-7F71-4D7A-B5F6-93A655CC656D}" vid="{2E7D1C45-11F4-44F4-A357-146D90A686D6}"/>
    </a:ext>
  </a:extLst>
</a:theme>
</file>

<file path=ppt/theme/theme2.xml><?xml version="1.0" encoding="utf-8"?>
<a:theme xmlns:a="http://schemas.openxmlformats.org/drawingml/2006/main" name="Slide Order Exampl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 example" id="{1C3926DE-7F71-4D7A-B5F6-93A655CC656D}" vid="{2741F226-CF8B-4F26-BBF7-A6BD44C97ABF}"/>
    </a:ext>
  </a:extLst>
</a:theme>
</file>

<file path=ppt/theme/theme3.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C1CB0136D761A4B97992E3D875C1FF0" ma:contentTypeVersion="13" ma:contentTypeDescription="Create a new document." ma:contentTypeScope="" ma:versionID="348debfc0442249f7e569bf10e61d601">
  <xsd:schema xmlns:xsd="http://www.w3.org/2001/XMLSchema" xmlns:xs="http://www.w3.org/2001/XMLSchema" xmlns:p="http://schemas.microsoft.com/office/2006/metadata/properties" xmlns:ns2="63a06213-bfce-439a-8047-554295c11f55" xmlns:ns3="74eebc8b-4261-4902-b589-5ef5937f602f" targetNamespace="http://schemas.microsoft.com/office/2006/metadata/properties" ma:root="true" ma:fieldsID="28fdd097ed5286e251a1dea88def7ca5" ns2:_="" ns3:_="">
    <xsd:import namespace="63a06213-bfce-439a-8047-554295c11f55"/>
    <xsd:import namespace="74eebc8b-4261-4902-b589-5ef5937f602f"/>
    <xsd:element name="properties">
      <xsd:complexType>
        <xsd:sequence>
          <xsd:element name="documentManagement">
            <xsd:complexType>
              <xsd:all>
                <xsd:element ref="ns2:MediaServiceMetadata" minOccurs="0"/>
                <xsd:element ref="ns2:MediaServiceFastMetadata" minOccurs="0"/>
                <xsd:element ref="ns2:OneNoteFluid_FileOrder"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a06213-bfce-439a-8047-554295c11f5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OneNoteFluid_FileOrder" ma:index="10" nillable="true" ma:displayName="OneNoteFluid_FileOrder" ma:internalName="OneNoteFluid_FileOrder">
      <xsd:simpleType>
        <xsd:restriction base="dms:Text">
          <xsd:maxLength value="255"/>
        </xsd:restriction>
      </xsd:simpleType>
    </xsd:element>
    <xsd:element name="MediaServiceDateTaken" ma:index="11" nillable="true" ma:displayName="MediaServiceDateTaken" ma:hidden="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4eebc8b-4261-4902-b589-5ef5937f602f"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12d27ca1-c41a-4c59-99ab-7906dfaf9c23}" ma:internalName="TaxCatchAll" ma:showField="CatchAllData" ma:web="74eebc8b-4261-4902-b589-5ef5937f602f">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OneNoteFluid_FileOrder xmlns="63a06213-bfce-439a-8047-554295c11f55" xsi:nil="true"/>
    <MediaLengthInSeconds xmlns="63a06213-bfce-439a-8047-554295c11f55" xsi:nil="true"/>
    <TaxCatchAll xmlns="74eebc8b-4261-4902-b589-5ef5937f602f" xsi:nil="true"/>
    <lcf76f155ced4ddcb4097134ff3c332f xmlns="63a06213-bfce-439a-8047-554295c11f55">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663291-CF79-4484-B4F2-6670FA766BA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a06213-bfce-439a-8047-554295c11f55"/>
    <ds:schemaRef ds:uri="74eebc8b-4261-4902-b589-5ef5937f602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230e9df3-be65-4c73-a93b-d1236ebd677e"/>
    <ds:schemaRef ds:uri="63a06213-bfce-439a-8047-554295c11f55"/>
    <ds:schemaRef ds:uri="8f11362a-7e5e-4278-beb7-5f2b59d4a9f0"/>
    <ds:schemaRef ds:uri="e7d72042-c94b-4623-b7b3-49577d00fb1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74eebc8b-4261-4902-b589-5ef5937f602f"/>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4219</Words>
  <Application>Microsoft Office PowerPoint</Application>
  <PresentationFormat>Custom</PresentationFormat>
  <Paragraphs>462</Paragraphs>
  <Slides>38</Slides>
  <Notes>31</Notes>
  <HiddenSlides>6</HiddenSlides>
  <MMClips>0</MMClips>
  <ScaleCrop>false</ScaleCrop>
  <HeadingPairs>
    <vt:vector size="6" baseType="variant">
      <vt:variant>
        <vt:lpstr>Fonts Used</vt:lpstr>
      </vt:variant>
      <vt:variant>
        <vt:i4>12</vt:i4>
      </vt:variant>
      <vt:variant>
        <vt:lpstr>Theme</vt:lpstr>
      </vt:variant>
      <vt:variant>
        <vt:i4>3</vt:i4>
      </vt:variant>
      <vt:variant>
        <vt:lpstr>Slide Titles</vt:lpstr>
      </vt:variant>
      <vt:variant>
        <vt:i4>38</vt:i4>
      </vt:variant>
    </vt:vector>
  </HeadingPairs>
  <TitlesOfParts>
    <vt:vector size="53" baseType="lpstr">
      <vt:lpstr>&amp;quot</vt:lpstr>
      <vt:lpstr>Arial</vt:lpstr>
      <vt:lpstr>Arial,Sans-Serif</vt:lpstr>
      <vt:lpstr>Calibri</vt:lpstr>
      <vt:lpstr>Calibri Light</vt:lpstr>
      <vt:lpstr>Comic Sans MS</vt:lpstr>
      <vt:lpstr>Consolas</vt:lpstr>
      <vt:lpstr>Segoe UI</vt:lpstr>
      <vt:lpstr>Segoe UI Light</vt:lpstr>
      <vt:lpstr>Segoe UI Semibold</vt:lpstr>
      <vt:lpstr>Segoe UI Semilight</vt:lpstr>
      <vt:lpstr>Wingdings</vt:lpstr>
      <vt:lpstr>WHITE TEMPLATE</vt:lpstr>
      <vt:lpstr>Slide Order Example</vt:lpstr>
      <vt:lpstr>Dark Blue</vt:lpstr>
      <vt:lpstr>WorkshopPLUS – Power Apps for Power Users 1 Day with Lab  Module 1: Introduction</vt:lpstr>
      <vt:lpstr>Disclaimer</vt:lpstr>
      <vt:lpstr>PowerPoint Presentation</vt:lpstr>
      <vt:lpstr>PowerPoint Presentation</vt:lpstr>
      <vt:lpstr>Power Apps Overview </vt:lpstr>
      <vt:lpstr>PowerPoint Presentation</vt:lpstr>
      <vt:lpstr>How it works</vt:lpstr>
      <vt:lpstr>Dataverse for Teams</vt:lpstr>
      <vt:lpstr>What is it?</vt:lpstr>
      <vt:lpstr>When should I use it?</vt:lpstr>
      <vt:lpstr>When should I not use it</vt:lpstr>
      <vt:lpstr>How would I use it</vt:lpstr>
      <vt:lpstr>Embed a canvas app as tab app in Teams</vt:lpstr>
      <vt:lpstr>Power Virtual Agent Overview </vt:lpstr>
      <vt:lpstr>Overview </vt:lpstr>
      <vt:lpstr>Lifecycle of a Power Virtual Agent chatbot </vt:lpstr>
      <vt:lpstr>Learn More</vt:lpstr>
      <vt:lpstr>Administration Overview </vt:lpstr>
      <vt:lpstr>Power Platform Admin Center</vt:lpstr>
      <vt:lpstr>Power Platform Admin Center Capabilities</vt:lpstr>
      <vt:lpstr>Browsing apps – Maker Portal </vt:lpstr>
      <vt:lpstr>Regions in PowerApps</vt:lpstr>
      <vt:lpstr>System requirements</vt:lpstr>
      <vt:lpstr>Request Limits</vt:lpstr>
      <vt:lpstr>Configure trial tenant</vt:lpstr>
      <vt:lpstr>Fundamentals </vt:lpstr>
      <vt:lpstr>Power Apps Studio </vt:lpstr>
      <vt:lpstr>Power Apps Studio components </vt:lpstr>
      <vt:lpstr>Power Apps Studio</vt:lpstr>
      <vt:lpstr>Creating an App  </vt:lpstr>
      <vt:lpstr>Layout options </vt:lpstr>
      <vt:lpstr>Power Apps is responsive</vt:lpstr>
      <vt:lpstr>The formula bar</vt:lpstr>
      <vt:lpstr>SharePoint List as data repository </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PowerApps Power User Module 1: Introduction and Overview  &lt;Instructor&gt; </dc:title>
  <dc:creator>Christopher Weaver</dc:creator>
  <cp:lastModifiedBy>Ethan Irons</cp:lastModifiedBy>
  <cp:revision>12</cp:revision>
  <dcterms:created xsi:type="dcterms:W3CDTF">2020-01-22T21:03:49Z</dcterms:created>
  <dcterms:modified xsi:type="dcterms:W3CDTF">2023-01-10T15:1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C1CB0136D761A4B97992E3D875C1FF0</vt:lpwstr>
  </property>
  <property fmtid="{D5CDD505-2E9C-101B-9397-08002B2CF9AE}" pid="3" name="xd_Signature">
    <vt:bool>false</vt:bool>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MediaServiceImageTags">
    <vt:lpwstr/>
  </property>
  <property fmtid="{D5CDD505-2E9C-101B-9397-08002B2CF9AE}" pid="8" name="Order">
    <vt:r8>43400</vt:r8>
  </property>
  <property fmtid="{D5CDD505-2E9C-101B-9397-08002B2CF9AE}" pid="9" name="UpdateComments">
    <vt:lpwstr>Complete</vt:lpwstr>
  </property>
  <property fmtid="{D5CDD505-2E9C-101B-9397-08002B2CF9AE}" pid="10" name="_ExtendedDescription">
    <vt:lpwstr/>
  </property>
  <property fmtid="{D5CDD505-2E9C-101B-9397-08002B2CF9AE}" pid="11" name="TriggerFlowInfo">
    <vt:lpwstr/>
  </property>
</Properties>
</file>